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67" r:id="rId5"/>
    <p:sldMasterId id="2147483672" r:id="rId6"/>
    <p:sldMasterId id="2147483648" r:id="rId7"/>
    <p:sldMasterId id="2147483749" r:id="rId8"/>
  </p:sldMasterIdLst>
  <p:notesMasterIdLst>
    <p:notesMasterId r:id="rId48"/>
  </p:notesMasterIdLst>
  <p:sldIdLst>
    <p:sldId id="258" r:id="rId9"/>
    <p:sldId id="445" r:id="rId10"/>
    <p:sldId id="446" r:id="rId11"/>
    <p:sldId id="447" r:id="rId12"/>
    <p:sldId id="540" r:id="rId13"/>
    <p:sldId id="276" r:id="rId14"/>
    <p:sldId id="259" r:id="rId15"/>
    <p:sldId id="550" r:id="rId16"/>
    <p:sldId id="263" r:id="rId17"/>
    <p:sldId id="448" r:id="rId18"/>
    <p:sldId id="544" r:id="rId19"/>
    <p:sldId id="546" r:id="rId20"/>
    <p:sldId id="450" r:id="rId21"/>
    <p:sldId id="534" r:id="rId22"/>
    <p:sldId id="453" r:id="rId23"/>
    <p:sldId id="548" r:id="rId24"/>
    <p:sldId id="542" r:id="rId25"/>
    <p:sldId id="271" r:id="rId26"/>
    <p:sldId id="269" r:id="rId27"/>
    <p:sldId id="316" r:id="rId28"/>
    <p:sldId id="302" r:id="rId29"/>
    <p:sldId id="420" r:id="rId30"/>
    <p:sldId id="430" r:id="rId31"/>
    <p:sldId id="419" r:id="rId32"/>
    <p:sldId id="418" r:id="rId33"/>
    <p:sldId id="423" r:id="rId34"/>
    <p:sldId id="424" r:id="rId35"/>
    <p:sldId id="426" r:id="rId36"/>
    <p:sldId id="399" r:id="rId37"/>
    <p:sldId id="451" r:id="rId38"/>
    <p:sldId id="438" r:id="rId39"/>
    <p:sldId id="292" r:id="rId40"/>
    <p:sldId id="434" r:id="rId41"/>
    <p:sldId id="439" r:id="rId42"/>
    <p:sldId id="452" r:id="rId43"/>
    <p:sldId id="265" r:id="rId44"/>
    <p:sldId id="417" r:id="rId45"/>
    <p:sldId id="441" r:id="rId46"/>
    <p:sldId id="543" r:id="rId47"/>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59905"/>
    <a:srgbClr val="1ADE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BFF099-5FB3-9E90-91A5-490EC970889D}" v="18" dt="2023-04-21T09:56:05.146"/>
    <p1510:client id="{AD27E912-9C07-D0A0-F781-401161F0B132}" v="19" dt="2023-04-21T09:05:54.681"/>
    <p1510:client id="{B68EB3B6-6F43-3BC3-8216-07C90063D935}" v="34" dt="2023-04-21T09:53:32.600"/>
    <p1510:client id="{BB8FE09C-4801-48B7-9B13-2C368A0867E0}" v="2" dt="2023-04-19T16:18:46.0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026" autoAdjust="0"/>
  </p:normalViewPr>
  <p:slideViewPr>
    <p:cSldViewPr snapToGrid="0">
      <p:cViewPr varScale="1">
        <p:scale>
          <a:sx n="89" d="100"/>
          <a:sy n="89" d="100"/>
        </p:scale>
        <p:origin x="1398"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CCB69A29-79C1-49EE-AFB1-C478545F0B6D}" type="datetimeFigureOut">
              <a:t>4/21/2023</a:t>
            </a:fld>
            <a:endParaRPr lang="en-US"/>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D3DC4850-627B-4B31-BFCC-42B6E3607017}" type="slidenum">
              <a:t>‹#›</a:t>
            </a:fld>
            <a:endParaRPr lang="en-US"/>
          </a:p>
        </p:txBody>
      </p:sp>
    </p:spTree>
    <p:extLst>
      <p:ext uri="{BB962C8B-B14F-4D97-AF65-F5344CB8AC3E}">
        <p14:creationId xmlns:p14="http://schemas.microsoft.com/office/powerpoint/2010/main" val="4215874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7FF0A947-1C14-4366-B865-A9372456DB5A}" type="slidenum">
              <a:rPr lang="en-IE" smtClean="0"/>
              <a:t>1</a:t>
            </a:fld>
            <a:endParaRPr lang="en-IE"/>
          </a:p>
        </p:txBody>
      </p:sp>
    </p:spTree>
    <p:extLst>
      <p:ext uri="{BB962C8B-B14F-4D97-AF65-F5344CB8AC3E}">
        <p14:creationId xmlns:p14="http://schemas.microsoft.com/office/powerpoint/2010/main" val="1162984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The Agreement on Reforming Research Assessment sets a shared direction for changes in assessment practices for research, researchers and research performing organisations, with the overarching goal to maximise the quality and impact of research.</a:t>
            </a:r>
          </a:p>
          <a:p>
            <a:endParaRPr lang="en-IE" dirty="0"/>
          </a:p>
          <a:p>
            <a:r>
              <a:rPr lang="en-IE" dirty="0"/>
              <a:t>The Agreement includes the principles, commitments and timeframe for reforms and lays out the principles for a Coalition of organisations willing to work together in implementing the changes.</a:t>
            </a:r>
          </a:p>
          <a:p>
            <a:endParaRPr lang="en-IE" dirty="0"/>
          </a:p>
          <a:p>
            <a:endParaRPr lang="en-IE" dirty="0"/>
          </a:p>
          <a:p>
            <a:r>
              <a:rPr lang="en-IE" dirty="0"/>
              <a:t>‘Publish or perish’ and metrics have led us into a blind alley. Let’s start recognizing the full breadth of value created by researchers. (Marc </a:t>
            </a:r>
            <a:r>
              <a:rPr lang="en-IE" dirty="0" err="1"/>
              <a:t>Schiltz</a:t>
            </a:r>
            <a:r>
              <a:rPr lang="en-IE" dirty="0"/>
              <a:t> , President of Science Europe)</a:t>
            </a:r>
          </a:p>
          <a:p>
            <a:endParaRPr lang="en-IE" dirty="0"/>
          </a:p>
          <a:p>
            <a:r>
              <a:rPr lang="en-IE" dirty="0"/>
              <a:t>The interim secretariat of the Coalition for Advancing Research Assessment (</a:t>
            </a:r>
            <a:r>
              <a:rPr lang="en-IE" dirty="0" err="1"/>
              <a:t>CoARA</a:t>
            </a:r>
            <a:r>
              <a:rPr lang="en-IE" dirty="0"/>
              <a:t>) is provided by Science Europe, the European University Association (EUA) and the European Commission.</a:t>
            </a:r>
          </a:p>
          <a:p>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sz="1200" b="1" dirty="0"/>
              <a:t>https://coara.eu/ </a:t>
            </a:r>
          </a:p>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16</a:t>
            </a:fld>
            <a:endParaRPr lang="en-IE"/>
          </a:p>
        </p:txBody>
      </p:sp>
    </p:spTree>
    <p:extLst>
      <p:ext uri="{BB962C8B-B14F-4D97-AF65-F5344CB8AC3E}">
        <p14:creationId xmlns:p14="http://schemas.microsoft.com/office/powerpoint/2010/main" val="42165989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p9: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IE" dirty="0"/>
              <a:t>Look out for questionable publishers who may email you offering to publish your article – this is possible predatory publishers and they should be avoided – see https://libguides.ucc.ie/OAatucc/predatorypublishing for more info</a:t>
            </a:r>
            <a:endParaRPr dirty="0"/>
          </a:p>
        </p:txBody>
      </p:sp>
      <p:sp>
        <p:nvSpPr>
          <p:cNvPr id="170" name="Google Shape;170;p9: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p2: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IE"/>
              <a:t>All</a:t>
            </a:r>
            <a:endParaRPr/>
          </a:p>
        </p:txBody>
      </p:sp>
      <p:sp>
        <p:nvSpPr>
          <p:cNvPr id="90" name="Google Shape;90;p2: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0A947-1C14-4366-B865-A9372456DB5A}"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624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So,  to ensure our funded researchers are compliant with their OA obligations we have to give them options - Green / Gold / Diamond</a:t>
            </a:r>
          </a:p>
          <a:p>
            <a:endParaRPr lang="en-IE" dirty="0"/>
          </a:p>
          <a:p>
            <a:r>
              <a:rPr lang="en-IE" dirty="0"/>
              <a:t>Green OA- A </a:t>
            </a:r>
            <a:r>
              <a:rPr lang="en-IE" dirty="0" err="1"/>
              <a:t>postprint</a:t>
            </a:r>
            <a:r>
              <a:rPr lang="en-IE" dirty="0"/>
              <a:t> (AAM)  is a digital draft of a research journal article after it has been peer reviewed and accepted for publication, but before it has been typeset and formatted by the journal.  Publishers may demand an embargo is applied on releasing the full text for a period of time.  Self-archiving a </a:t>
            </a:r>
            <a:r>
              <a:rPr lang="en-IE" dirty="0" err="1"/>
              <a:t>postprint</a:t>
            </a:r>
            <a:r>
              <a:rPr lang="en-IE" dirty="0"/>
              <a:t> (AAM) in UCC’s Open Access Repository – CORA  - in addition to traditional publication in subscription access journal authors deposit a draft copy of their articles (</a:t>
            </a:r>
            <a:r>
              <a:rPr lang="en-IE" dirty="0" err="1"/>
              <a:t>postprint</a:t>
            </a:r>
            <a:r>
              <a:rPr lang="en-IE" dirty="0"/>
              <a:t>) in an institutional repository e.g. CORA.  This may involve a temporary embargo on accessing the full text of article.</a:t>
            </a:r>
          </a:p>
          <a:p>
            <a:endParaRPr lang="en-IE" dirty="0"/>
          </a:p>
          <a:p>
            <a:r>
              <a:rPr lang="en-IE" dirty="0"/>
              <a:t>Gold OA: -Articles are made openly accessible by the publisher, often for a fee, known as an article processing charge (APC) which covers publication costs​ (between €100 - €4k per paper)</a:t>
            </a:r>
          </a:p>
          <a:p>
            <a:endParaRPr lang="en-IE" dirty="0"/>
          </a:p>
          <a:p>
            <a:endParaRPr lang="en-IE" dirty="0"/>
          </a:p>
          <a:p>
            <a:endParaRPr lang="en-IE" dirty="0">
              <a:cs typeface="Calibri" panose="020F0502020204030204"/>
            </a:endParaRPr>
          </a:p>
          <a:p>
            <a:endParaRPr lang="en-IE" dirty="0">
              <a:cs typeface="Calibri" panose="020F0502020204030204"/>
            </a:endParaRPr>
          </a:p>
        </p:txBody>
      </p:sp>
      <p:sp>
        <p:nvSpPr>
          <p:cNvPr id="4" name="Slide Number Placeholder 3"/>
          <p:cNvSpPr>
            <a:spLocks noGrp="1"/>
          </p:cNvSpPr>
          <p:nvPr>
            <p:ph type="sldNum" sz="quarter" idx="5"/>
          </p:nvPr>
        </p:nvSpPr>
        <p:spPr/>
        <p:txBody>
          <a:bodyPr/>
          <a:lstStyle/>
          <a:p>
            <a:fld id="{102495AA-BE06-4C29-B857-D355F8C5C9F1}" type="slidenum">
              <a:rPr lang="en-IE" smtClean="0"/>
              <a:t>21</a:t>
            </a:fld>
            <a:endParaRPr lang="en-IE"/>
          </a:p>
        </p:txBody>
      </p:sp>
    </p:spTree>
    <p:extLst>
      <p:ext uri="{BB962C8B-B14F-4D97-AF65-F5344CB8AC3E}">
        <p14:creationId xmlns:p14="http://schemas.microsoft.com/office/powerpoint/2010/main" val="101131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7FF0A947-1C14-4366-B865-A9372456DB5A}" type="slidenum">
              <a:rPr lang="en-IE" smtClean="0"/>
              <a:t>22</a:t>
            </a:fld>
            <a:endParaRPr lang="en-IE"/>
          </a:p>
        </p:txBody>
      </p:sp>
    </p:spTree>
    <p:extLst>
      <p:ext uri="{BB962C8B-B14F-4D97-AF65-F5344CB8AC3E}">
        <p14:creationId xmlns:p14="http://schemas.microsoft.com/office/powerpoint/2010/main" val="1467599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7FF0A947-1C14-4366-B865-A9372456DB5A}" type="slidenum">
              <a:rPr lang="en-IE" smtClean="0"/>
              <a:t>24</a:t>
            </a:fld>
            <a:endParaRPr lang="en-IE"/>
          </a:p>
        </p:txBody>
      </p:sp>
    </p:spTree>
    <p:extLst>
      <p:ext uri="{BB962C8B-B14F-4D97-AF65-F5344CB8AC3E}">
        <p14:creationId xmlns:p14="http://schemas.microsoft.com/office/powerpoint/2010/main" val="734293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44CB0E3-0FFD-4CB5-A7CE-61C1D26DD99C}" type="slidenum">
              <a:rPr lang="en-GB" smtClean="0"/>
              <a:t>28</a:t>
            </a:fld>
            <a:endParaRPr lang="en-GB"/>
          </a:p>
        </p:txBody>
      </p:sp>
    </p:spTree>
    <p:extLst>
      <p:ext uri="{BB962C8B-B14F-4D97-AF65-F5344CB8AC3E}">
        <p14:creationId xmlns:p14="http://schemas.microsoft.com/office/powerpoint/2010/main" val="32284161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baseline="0" dirty="0"/>
          </a:p>
          <a:p>
            <a:endParaRPr lang="en-IE" baseline="0" dirty="0"/>
          </a:p>
          <a:p>
            <a:endParaRPr lang="en-IE" dirty="0"/>
          </a:p>
        </p:txBody>
      </p:sp>
      <p:sp>
        <p:nvSpPr>
          <p:cNvPr id="4" name="Slide Number Placeholder 3"/>
          <p:cNvSpPr>
            <a:spLocks noGrp="1"/>
          </p:cNvSpPr>
          <p:nvPr>
            <p:ph type="sldNum" sz="quarter" idx="10"/>
          </p:nvPr>
        </p:nvSpPr>
        <p:spPr/>
        <p:txBody>
          <a:bodyPr/>
          <a:lstStyle/>
          <a:p>
            <a:fld id="{90F8BCB5-A4D9-4416-B20D-D5AD2CD94567}" type="slidenum">
              <a:rPr lang="en-IE" smtClean="0"/>
              <a:t>29</a:t>
            </a:fld>
            <a:endParaRPr lang="en-IE"/>
          </a:p>
        </p:txBody>
      </p:sp>
    </p:spTree>
    <p:extLst>
      <p:ext uri="{BB962C8B-B14F-4D97-AF65-F5344CB8AC3E}">
        <p14:creationId xmlns:p14="http://schemas.microsoft.com/office/powerpoint/2010/main" val="28400432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UCC as a member of the </a:t>
            </a:r>
            <a:r>
              <a:rPr lang="en-US" dirty="0" err="1">
                <a:cs typeface="Calibri"/>
              </a:rPr>
              <a:t>IrEL</a:t>
            </a:r>
            <a:r>
              <a:rPr lang="en-US" dirty="0">
                <a:cs typeface="Calibri"/>
              </a:rPr>
              <a:t> consortium have access to an annual allocation of pre-paid APCs – contact the CORA Team to ascertain if there is funding available to support publishing your papers open access immediately.</a:t>
            </a:r>
          </a:p>
          <a:p>
            <a:endParaRPr lang="en-US" dirty="0">
              <a:cs typeface="Calibri"/>
            </a:endParaRPr>
          </a:p>
          <a:p>
            <a:endParaRPr lang="en-IE" dirty="0"/>
          </a:p>
          <a:p>
            <a:r>
              <a:rPr lang="en-IE" dirty="0"/>
              <a:t>The CORA team oversee the APC process in UCC, encouraging researchers to avail of APCs where available</a:t>
            </a:r>
          </a:p>
          <a:p>
            <a:endParaRPr lang="en-US" dirty="0"/>
          </a:p>
        </p:txBody>
      </p:sp>
      <p:sp>
        <p:nvSpPr>
          <p:cNvPr id="4" name="Slide Number Placeholder 3"/>
          <p:cNvSpPr>
            <a:spLocks noGrp="1"/>
          </p:cNvSpPr>
          <p:nvPr>
            <p:ph type="sldNum" sz="quarter" idx="10"/>
          </p:nvPr>
        </p:nvSpPr>
        <p:spPr/>
        <p:txBody>
          <a:bodyPr/>
          <a:lstStyle/>
          <a:p>
            <a:fld id="{CD975D1E-EF15-40D6-82E0-502EB8BB584C}" type="slidenum">
              <a:rPr lang="en-US"/>
              <a:t>31</a:t>
            </a:fld>
            <a:endParaRPr lang="en-US"/>
          </a:p>
        </p:txBody>
      </p:sp>
    </p:spTree>
    <p:extLst>
      <p:ext uri="{BB962C8B-B14F-4D97-AF65-F5344CB8AC3E}">
        <p14:creationId xmlns:p14="http://schemas.microsoft.com/office/powerpoint/2010/main" val="2184558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2</a:t>
            </a:fld>
            <a:endParaRPr lang="en-IE"/>
          </a:p>
        </p:txBody>
      </p:sp>
    </p:spTree>
    <p:extLst>
      <p:ext uri="{BB962C8B-B14F-4D97-AF65-F5344CB8AC3E}">
        <p14:creationId xmlns:p14="http://schemas.microsoft.com/office/powerpoint/2010/main" val="1304375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4fb4ade4a3_0_57:notes"/>
          <p:cNvSpPr>
            <a:spLocks noGrp="1" noRot="1" noChangeAspect="1"/>
          </p:cNvSpPr>
          <p:nvPr>
            <p:ph type="sldImg" idx="2"/>
          </p:nvPr>
        </p:nvSpPr>
        <p:spPr>
          <a:xfrm>
            <a:off x="-349250" y="808038"/>
            <a:ext cx="7185025"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4fb4ade4a3_0_57:notes"/>
          <p:cNvSpPr txBox="1">
            <a:spLocks noGrp="1"/>
          </p:cNvSpPr>
          <p:nvPr>
            <p:ph type="body" idx="1"/>
          </p:nvPr>
        </p:nvSpPr>
        <p:spPr>
          <a:xfrm>
            <a:off x="648538" y="5118725"/>
            <a:ext cx="5188303" cy="4849318"/>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dirty="0"/>
              <a:t>To avail of funded APCs UCC authors must meet the following criteria, when their article is </a:t>
            </a:r>
            <a:r>
              <a:rPr lang="en-IE" sz="1600" dirty="0">
                <a:solidFill>
                  <a:schemeClr val="tx1"/>
                </a:solidFill>
              </a:rPr>
              <a:t>accepted</a:t>
            </a:r>
            <a:r>
              <a:rPr lang="en-IE" dirty="0"/>
              <a:t> for publ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t>You must be listed as the corresponding author.</a:t>
            </a:r>
          </a:p>
          <a:p>
            <a:pPr marL="0" marR="0" lvl="0" indent="0" algn="l" defTabSz="914400" rtl="0" eaLnBrk="1" fontAlgn="auto" latinLnBrk="0" hangingPunct="1">
              <a:lnSpc>
                <a:spcPct val="100000"/>
              </a:lnSpc>
              <a:spcBef>
                <a:spcPts val="0"/>
              </a:spcBef>
              <a:spcAft>
                <a:spcPts val="0"/>
              </a:spcAft>
              <a:buClrTx/>
              <a:buSzTx/>
              <a:buFontTx/>
              <a:buNone/>
              <a:tabLst/>
              <a:defRPr/>
            </a:pPr>
            <a:r>
              <a:rPr lang="en-IE" dirty="0"/>
              <a:t>You must include ‘University College Cork’ in your affiliation detai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dirty="0"/>
              <a:t>You should use your UCC email address: @ucc.i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dirty="0"/>
              <a:t>Funding is limited and a number of agreements are expired  . . Till  January 2023</a:t>
            </a:r>
          </a:p>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502334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err="1"/>
              <a:t>Irel</a:t>
            </a:r>
            <a:r>
              <a:rPr lang="en-IE"/>
              <a:t> has negotiated agreements with the following publishers – the CORA team oversee the APC process in UCC ensuring that researchers can avail of funded APCs</a:t>
            </a:r>
          </a:p>
          <a:p>
            <a:endParaRPr lang="en-IE"/>
          </a:p>
          <a:p>
            <a:r>
              <a:rPr lang="en-IE"/>
              <a:t>The funds have already run out in a few of the agreements.</a:t>
            </a:r>
          </a:p>
          <a:p>
            <a:r>
              <a:rPr lang="en-IE"/>
              <a:t>A new tranche of APCs will be released in January 202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2495AA-BE06-4C29-B857-D355F8C5C9F1}"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817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D3DC4850-627B-4B31-BFCC-42B6E3607017}" type="slidenum">
              <a:rPr lang="en-IE" smtClean="0"/>
              <a:t>34</a:t>
            </a:fld>
            <a:endParaRPr lang="en-IE"/>
          </a:p>
        </p:txBody>
      </p:sp>
    </p:spTree>
    <p:extLst>
      <p:ext uri="{BB962C8B-B14F-4D97-AF65-F5344CB8AC3E}">
        <p14:creationId xmlns:p14="http://schemas.microsoft.com/office/powerpoint/2010/main" val="24447027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35</a:t>
            </a:fld>
            <a:endParaRPr lang="en-IE"/>
          </a:p>
        </p:txBody>
      </p:sp>
    </p:spTree>
    <p:extLst>
      <p:ext uri="{BB962C8B-B14F-4D97-AF65-F5344CB8AC3E}">
        <p14:creationId xmlns:p14="http://schemas.microsoft.com/office/powerpoint/2010/main" val="29249565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7FF0A947-1C14-4366-B865-A9372456DB5A}" type="slidenum">
              <a:rPr lang="en-IE" smtClean="0"/>
              <a:t>36</a:t>
            </a:fld>
            <a:endParaRPr lang="en-IE"/>
          </a:p>
        </p:txBody>
      </p:sp>
    </p:spTree>
    <p:extLst>
      <p:ext uri="{BB962C8B-B14F-4D97-AF65-F5344CB8AC3E}">
        <p14:creationId xmlns:p14="http://schemas.microsoft.com/office/powerpoint/2010/main" val="3473624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Pease see the benefits of OA publishing</a:t>
            </a:r>
          </a:p>
        </p:txBody>
      </p:sp>
      <p:sp>
        <p:nvSpPr>
          <p:cNvPr id="4" name="Slide Number Placeholder 3"/>
          <p:cNvSpPr>
            <a:spLocks noGrp="1"/>
          </p:cNvSpPr>
          <p:nvPr>
            <p:ph type="sldNum" sz="quarter" idx="5"/>
          </p:nvPr>
        </p:nvSpPr>
        <p:spPr/>
        <p:txBody>
          <a:bodyPr/>
          <a:lstStyle/>
          <a:p>
            <a:fld id="{D3DC4850-627B-4B31-BFCC-42B6E3607017}" type="slidenum">
              <a:rPr lang="en-IE" smtClean="0"/>
              <a:t>37</a:t>
            </a:fld>
            <a:endParaRPr lang="en-IE"/>
          </a:p>
        </p:txBody>
      </p:sp>
    </p:spTree>
    <p:extLst>
      <p:ext uri="{BB962C8B-B14F-4D97-AF65-F5344CB8AC3E}">
        <p14:creationId xmlns:p14="http://schemas.microsoft.com/office/powerpoint/2010/main" val="19276870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0A947-1C14-4366-B865-A9372456DB5A}"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311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39</a:t>
            </a:fld>
            <a:endParaRPr lang="en-IE"/>
          </a:p>
        </p:txBody>
      </p:sp>
    </p:spTree>
    <p:extLst>
      <p:ext uri="{BB962C8B-B14F-4D97-AF65-F5344CB8AC3E}">
        <p14:creationId xmlns:p14="http://schemas.microsoft.com/office/powerpoint/2010/main" val="691709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There is no single definition of ‘Open Science’ or ‘Open Research’ , but Open Access publishing is at it’s centre.</a:t>
            </a:r>
          </a:p>
          <a:p>
            <a:endParaRPr lang="en-IE" dirty="0"/>
          </a:p>
          <a:p>
            <a:r>
              <a:rPr lang="en-IE" dirty="0"/>
              <a:t>Open science encompasses unhindered access to scientific articles, access to data from public research, and collaborative research enabled by ICT tools and incentives. </a:t>
            </a:r>
          </a:p>
          <a:p>
            <a:endParaRPr lang="en-IE" dirty="0"/>
          </a:p>
          <a:p>
            <a:r>
              <a:rPr lang="en-IE" dirty="0"/>
              <a:t>Broadening access to scientific publications and data is at the heart of open science, so that research outputs are in the hands of as many as possible, and potential benefits are spread as widely as possible and this is what we are trying to encourage by our OA policies and supports.</a:t>
            </a:r>
          </a:p>
        </p:txBody>
      </p:sp>
      <p:sp>
        <p:nvSpPr>
          <p:cNvPr id="4" name="Slide Number Placeholder 3"/>
          <p:cNvSpPr>
            <a:spLocks noGrp="1"/>
          </p:cNvSpPr>
          <p:nvPr>
            <p:ph type="sldNum" sz="quarter" idx="5"/>
          </p:nvPr>
        </p:nvSpPr>
        <p:spPr/>
        <p:txBody>
          <a:bodyPr/>
          <a:lstStyle/>
          <a:p>
            <a:fld id="{56ECA976-F2F9-41BC-A44F-E4652372ADC9}" type="slidenum">
              <a:rPr lang="en-IE" smtClean="0"/>
              <a:t>6</a:t>
            </a:fld>
            <a:endParaRPr lang="en-IE"/>
          </a:p>
        </p:txBody>
      </p:sp>
    </p:spTree>
    <p:extLst>
      <p:ext uri="{BB962C8B-B14F-4D97-AF65-F5344CB8AC3E}">
        <p14:creationId xmlns:p14="http://schemas.microsoft.com/office/powerpoint/2010/main" val="3753677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400">
                <a:solidFill>
                  <a:schemeClr val="tx1"/>
                </a:solidFill>
              </a:rPr>
              <a:t>Making scholarly research outputs freely available on the web, with no (or limited) licence restrictions on reuse</a:t>
            </a:r>
          </a:p>
        </p:txBody>
      </p:sp>
      <p:sp>
        <p:nvSpPr>
          <p:cNvPr id="4" name="Slide Number Placeholder 3"/>
          <p:cNvSpPr>
            <a:spLocks noGrp="1"/>
          </p:cNvSpPr>
          <p:nvPr>
            <p:ph type="sldNum" sz="quarter" idx="5"/>
          </p:nvPr>
        </p:nvSpPr>
        <p:spPr/>
        <p:txBody>
          <a:bodyPr/>
          <a:lstStyle/>
          <a:p>
            <a:fld id="{7FF0A947-1C14-4366-B865-A9372456DB5A}" type="slidenum">
              <a:rPr lang="en-IE" smtClean="0"/>
              <a:t>7</a:t>
            </a:fld>
            <a:endParaRPr lang="en-IE"/>
          </a:p>
        </p:txBody>
      </p:sp>
    </p:spTree>
    <p:extLst>
      <p:ext uri="{BB962C8B-B14F-4D97-AF65-F5344CB8AC3E}">
        <p14:creationId xmlns:p14="http://schemas.microsoft.com/office/powerpoint/2010/main" val="8962978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Several policy papers have been published recently by scientific government bodies in Ireland and Europe with the aim of making research, especially that which stems from public funding, freely available to anyone with access to the internet.  European bodies and research organisations have signed several agreements to demand that published research findings and papers transition from behind paywalls, to open access online..</a:t>
            </a:r>
          </a:p>
          <a:p>
            <a:endParaRPr lang="en-IE" dirty="0"/>
          </a:p>
          <a:p>
            <a:r>
              <a:rPr lang="en-IE" dirty="0"/>
              <a:t>Many funding bodies have signed up to Plan-S which is tightly focused on transition of OA for publications, and of with SFI is a signatory, as are the IRC and HRB.</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latin typeface="Calibri" panose="020F0502020204030204"/>
                <a:ea typeface="+mn-ea"/>
                <a:cs typeface="+mn-cs"/>
              </a:rPr>
              <a:t>With HORIZON EUROPES ADOPTION OF PLAN S – THIS HAS CHANGED HOW RESEARCH MUST BE CONDUCTED AND SHA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black"/>
                </a:solidFill>
                <a:effectLst/>
                <a:uLnTx/>
                <a:uFillTx/>
                <a:latin typeface="Calibri" panose="020F0502020204030204"/>
                <a:ea typeface="+mn-ea"/>
                <a:cs typeface="+mn-cs"/>
              </a:rPr>
              <a:t>SFI / IRC / WELCOME ARE ALL signatories</a:t>
            </a:r>
          </a:p>
          <a:p>
            <a:endParaRPr lang="en-IE" dirty="0">
              <a:cs typeface="Calibri"/>
            </a:endParaRPr>
          </a:p>
        </p:txBody>
      </p:sp>
      <p:sp>
        <p:nvSpPr>
          <p:cNvPr id="4" name="Slide Number Placeholder 3"/>
          <p:cNvSpPr>
            <a:spLocks noGrp="1"/>
          </p:cNvSpPr>
          <p:nvPr>
            <p:ph type="sldNum" sz="quarter" idx="5"/>
          </p:nvPr>
        </p:nvSpPr>
        <p:spPr/>
        <p:txBody>
          <a:bodyPr/>
          <a:lstStyle/>
          <a:p>
            <a:fld id="{7FF0A947-1C14-4366-B865-A9372456DB5A}" type="slidenum">
              <a:rPr lang="en-IE" smtClean="0"/>
              <a:t>8</a:t>
            </a:fld>
            <a:endParaRPr lang="en-IE"/>
          </a:p>
        </p:txBody>
      </p:sp>
    </p:spTree>
    <p:extLst>
      <p:ext uri="{BB962C8B-B14F-4D97-AF65-F5344CB8AC3E}">
        <p14:creationId xmlns:p14="http://schemas.microsoft.com/office/powerpoint/2010/main" val="412041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4fb4ade4a3_0_57:notes"/>
          <p:cNvSpPr>
            <a:spLocks noGrp="1" noRot="1" noChangeAspect="1"/>
          </p:cNvSpPr>
          <p:nvPr>
            <p:ph type="sldImg" idx="2"/>
          </p:nvPr>
        </p:nvSpPr>
        <p:spPr>
          <a:xfrm>
            <a:off x="-268288" y="803275"/>
            <a:ext cx="7146926" cy="402113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4fb4ade4a3_0_57:notes"/>
          <p:cNvSpPr txBox="1">
            <a:spLocks noGrp="1"/>
          </p:cNvSpPr>
          <p:nvPr>
            <p:ph type="body" idx="1"/>
          </p:nvPr>
        </p:nvSpPr>
        <p:spPr>
          <a:xfrm>
            <a:off x="661043" y="5090892"/>
            <a:ext cx="5288340" cy="4822950"/>
          </a:xfrm>
          <a:prstGeom prst="rect">
            <a:avLst/>
          </a:prstGeom>
        </p:spPr>
        <p:txBody>
          <a:bodyPr spcFirstLastPara="1" wrap="square" lIns="91425" tIns="91425" rIns="91425" bIns="91425" anchor="t" anchorCtr="0">
            <a:noAutofit/>
          </a:bodyPr>
          <a:lstStyle/>
          <a:p>
            <a:pPr marL="171450" indent="-171450">
              <a:buFont typeface="Arial" panose="020B0604020202020204" pitchFamily="34" charset="0"/>
              <a:buChar char="•"/>
            </a:pPr>
            <a:r>
              <a:rPr lang="en-IE" dirty="0">
                <a:cs typeface="Calibri"/>
              </a:rPr>
              <a:t>Immediate access/Zero embargo</a:t>
            </a:r>
          </a:p>
          <a:p>
            <a:pPr marL="171450" indent="-171450">
              <a:buFont typeface="Arial" panose="020B0604020202020204" pitchFamily="34" charset="0"/>
              <a:buChar char="•"/>
            </a:pPr>
            <a:r>
              <a:rPr lang="en-IE" dirty="0">
                <a:cs typeface="Calibri"/>
              </a:rPr>
              <a:t>Rights Retention by author/institution required &amp; content licensed under CC-BY </a:t>
            </a:r>
          </a:p>
          <a:p>
            <a:pPr marL="171450" indent="-171450">
              <a:buFont typeface="Arial" panose="020B0604020202020204" pitchFamily="34" charset="0"/>
              <a:buChar char="•"/>
            </a:pPr>
            <a:r>
              <a:rPr lang="en-IE" dirty="0">
                <a:cs typeface="Calibri"/>
              </a:rPr>
              <a:t>‘Hybrid OA’ not eligible for funding (except through TA/TJ)</a:t>
            </a:r>
          </a:p>
          <a:p>
            <a:pPr marL="0" indent="0">
              <a:buFont typeface="Arial" panose="020B0604020202020204" pitchFamily="34" charset="0"/>
              <a:buNone/>
            </a:pPr>
            <a:endParaRPr lang="en-IE" dirty="0">
              <a:cs typeface="Calibri"/>
            </a:endParaRPr>
          </a:p>
          <a:p>
            <a:r>
              <a:rPr lang="en-IE" b="1" dirty="0">
                <a:cs typeface="Calibri"/>
              </a:rPr>
              <a:t>Plan S</a:t>
            </a:r>
          </a:p>
          <a:p>
            <a:r>
              <a:rPr lang="en-IE" dirty="0">
                <a:cs typeface="Calibri"/>
              </a:rPr>
              <a:t>Plan S, an initiative of </a:t>
            </a:r>
            <a:r>
              <a:rPr lang="en-IE" dirty="0" err="1">
                <a:cs typeface="Calibri"/>
              </a:rPr>
              <a:t>cOALition</a:t>
            </a:r>
            <a:r>
              <a:rPr lang="en-IE" dirty="0">
                <a:cs typeface="Calibri"/>
              </a:rPr>
              <a:t> S, was launched in September 2018 with the goal of achieving full and immediate open access to publications. </a:t>
            </a:r>
            <a:r>
              <a:rPr lang="en-IE" b="1" dirty="0" err="1">
                <a:cs typeface="Calibri"/>
              </a:rPr>
              <a:t>COAlition</a:t>
            </a:r>
            <a:r>
              <a:rPr lang="en-IE" b="1" dirty="0">
                <a:cs typeface="Calibri"/>
              </a:rPr>
              <a:t> S</a:t>
            </a:r>
            <a:r>
              <a:rPr lang="en-IE" dirty="0">
                <a:cs typeface="Calibri"/>
              </a:rPr>
              <a:t> comprises a group of </a:t>
            </a:r>
            <a:r>
              <a:rPr lang="en-IE" b="1" dirty="0">
                <a:cs typeface="Calibri"/>
              </a:rPr>
              <a:t>research funders </a:t>
            </a:r>
            <a:r>
              <a:rPr lang="en-IE" dirty="0">
                <a:cs typeface="Calibri"/>
              </a:rPr>
              <a:t>that has committed to implementing Plan S, and aims to accelerate the transition to a scholarly publishing system characterised by immediate and free online access to scholarly publications.</a:t>
            </a:r>
          </a:p>
        </p:txBody>
      </p:sp>
    </p:spTree>
    <p:extLst>
      <p:ext uri="{BB962C8B-B14F-4D97-AF65-F5344CB8AC3E}">
        <p14:creationId xmlns:p14="http://schemas.microsoft.com/office/powerpoint/2010/main" val="1210000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Many funding bodies have signed up to Plan-S which is tightly focused on transition of OA for publications, and of with SFI is a signatory, as are the IRC and HRB.</a:t>
            </a:r>
          </a:p>
          <a:p>
            <a:endParaRPr lang="en-IE" dirty="0"/>
          </a:p>
          <a:p>
            <a:r>
              <a:rPr lang="en-IE" dirty="0"/>
              <a:t>With HORIZON EUROPES ADOPTION OF PLAN S – THIS HAS CHANGED HOW RESEARCH MUST BE CONDUCTED AND SHARED - SFI / IRC / WELCOME ARE ALL signatories</a:t>
            </a:r>
          </a:p>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10</a:t>
            </a:fld>
            <a:endParaRPr lang="en-IE"/>
          </a:p>
        </p:txBody>
      </p:sp>
    </p:spTree>
    <p:extLst>
      <p:ext uri="{BB962C8B-B14F-4D97-AF65-F5344CB8AC3E}">
        <p14:creationId xmlns:p14="http://schemas.microsoft.com/office/powerpoint/2010/main" val="3084436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Many funding bodies have signed up to Plan-S which is tightly focused on transition of OA for publications, and of with SFI is a signatory, as are the IRC and HRB.</a:t>
            </a:r>
          </a:p>
          <a:p>
            <a:endParaRPr lang="en-IE" dirty="0"/>
          </a:p>
          <a:p>
            <a:r>
              <a:rPr lang="en-IE" dirty="0"/>
              <a:t>With HORIZON EUROPES ADOPTION OF PLAN S – THIS HAS CHANGED HOW RESEARCH MUST BE CONDUCTED AND SHARED - SFI / IRC / WELCOME ARE ALL signatories</a:t>
            </a:r>
          </a:p>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11</a:t>
            </a:fld>
            <a:endParaRPr lang="en-IE"/>
          </a:p>
        </p:txBody>
      </p:sp>
    </p:spTree>
    <p:extLst>
      <p:ext uri="{BB962C8B-B14F-4D97-AF65-F5344CB8AC3E}">
        <p14:creationId xmlns:p14="http://schemas.microsoft.com/office/powerpoint/2010/main" val="2677818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D3DC4850-627B-4B31-BFCC-42B6E3607017}" type="slidenum">
              <a:rPr lang="en-IE" smtClean="0"/>
              <a:t>12</a:t>
            </a:fld>
            <a:endParaRPr lang="en-IE"/>
          </a:p>
        </p:txBody>
      </p:sp>
    </p:spTree>
    <p:extLst>
      <p:ext uri="{BB962C8B-B14F-4D97-AF65-F5344CB8AC3E}">
        <p14:creationId xmlns:p14="http://schemas.microsoft.com/office/powerpoint/2010/main" val="34707029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5.xml"/><Relationship Id="rId1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slideMaster" Target="../slideMasters/slideMaster5.xml"/><Relationship Id="rId17" Type="http://schemas.openxmlformats.org/officeDocument/2006/relationships/image" Target="../media/image5.emf"/><Relationship Id="rId2" Type="http://schemas.openxmlformats.org/officeDocument/2006/relationships/tags" Target="../tags/tag10.xml"/><Relationship Id="rId16" Type="http://schemas.openxmlformats.org/officeDocument/2006/relationships/image" Target="../media/image6.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4.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4.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2.emf"/><Relationship Id="rId5" Type="http://schemas.openxmlformats.org/officeDocument/2006/relationships/tags" Target="../tags/tag24.xml"/><Relationship Id="rId10" Type="http://schemas.openxmlformats.org/officeDocument/2006/relationships/oleObject" Target="../embeddings/oleObject3.bin"/><Relationship Id="rId4" Type="http://schemas.openxmlformats.org/officeDocument/2006/relationships/tags" Target="../tags/tag23.xml"/><Relationship Id="rId9"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4.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emf"/><Relationship Id="rId5" Type="http://schemas.openxmlformats.org/officeDocument/2006/relationships/tags" Target="../tags/tag32.xml"/><Relationship Id="rId10" Type="http://schemas.openxmlformats.org/officeDocument/2006/relationships/oleObject" Target="../embeddings/oleObject4.bin"/><Relationship Id="rId4" Type="http://schemas.openxmlformats.org/officeDocument/2006/relationships/tags" Target="../tags/tag31.xml"/><Relationship Id="rId9"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0.xml"/><Relationship Id="rId7" Type="http://schemas.openxmlformats.org/officeDocument/2006/relationships/oleObject" Target="../embeddings/oleObject5.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Master" Target="../slideMasters/slideMaster5.xml"/><Relationship Id="rId5" Type="http://schemas.openxmlformats.org/officeDocument/2006/relationships/tags" Target="../tags/tag42.xml"/><Relationship Id="rId4" Type="http://schemas.openxmlformats.org/officeDocument/2006/relationships/tags" Target="../tags/tag41.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4.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image" Target="../media/image2.emf"/><Relationship Id="rId5" Type="http://schemas.openxmlformats.org/officeDocument/2006/relationships/tags" Target="../tags/tag47.xml"/><Relationship Id="rId10" Type="http://schemas.openxmlformats.org/officeDocument/2006/relationships/oleObject" Target="../embeddings/oleObject6.bin"/><Relationship Id="rId4" Type="http://schemas.openxmlformats.org/officeDocument/2006/relationships/tags" Target="../tags/tag46.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6D5D4-DACF-4856-917A-A95B4CEB79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7F3F9879-6933-4118-B185-46C9B7BDF5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64940B96-32F2-4ED9-B488-EA4FA5583F7D}"/>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5" name="Footer Placeholder 4">
            <a:extLst>
              <a:ext uri="{FF2B5EF4-FFF2-40B4-BE49-F238E27FC236}">
                <a16:creationId xmlns:a16="http://schemas.microsoft.com/office/drawing/2014/main" id="{7CC270FD-2D7E-4EFA-B97C-F94F9954890E}"/>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0726A4B5-B991-479C-B40E-53726A01FBE5}"/>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34068096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B69B8-29C0-48E3-A218-16874FC785B0}"/>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DC266CAE-4B39-49D4-8B26-E12CA1FA318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4925E1C-7EEB-4360-BFC3-8EAC36694ABE}"/>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5" name="Footer Placeholder 4">
            <a:extLst>
              <a:ext uri="{FF2B5EF4-FFF2-40B4-BE49-F238E27FC236}">
                <a16:creationId xmlns:a16="http://schemas.microsoft.com/office/drawing/2014/main" id="{0E9DACA7-88E4-4415-B46B-82A7321BE00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4D01E3F-6088-4693-A2A0-4E2DF99307F1}"/>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1645906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3F9999-CFC1-4F58-8B87-F12D2B735EB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CD267AD8-057D-48CD-98E0-735D6D7B33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639890D0-FCC8-4EB7-89D8-6CCB4CB08F64}"/>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5" name="Footer Placeholder 4">
            <a:extLst>
              <a:ext uri="{FF2B5EF4-FFF2-40B4-BE49-F238E27FC236}">
                <a16:creationId xmlns:a16="http://schemas.microsoft.com/office/drawing/2014/main" id="{CDDB6A43-C5C1-4CA2-B3A9-17F69CEAE569}"/>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F7807E0F-28B2-4A26-8EFE-7A7B45892228}"/>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26268506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IE"/>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E"/>
          </a:p>
        </p:txBody>
      </p:sp>
      <p:sp>
        <p:nvSpPr>
          <p:cNvPr id="4" name="Date Placeholder 3"/>
          <p:cNvSpPr>
            <a:spLocks noGrp="1"/>
          </p:cNvSpPr>
          <p:nvPr>
            <p:ph type="dt" sz="half" idx="10"/>
          </p:nvPr>
        </p:nvSpPr>
        <p:spPr/>
        <p:txBody>
          <a:bodyPr/>
          <a:lstStyle/>
          <a:p>
            <a:fld id="{BF94F72D-F463-4478-8ECB-E86CEF8C5CA7}" type="datetime1">
              <a:rPr lang="en-IE" smtClean="0"/>
              <a:t>21/04/2023</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723102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12AAA34E-A770-40F9-9077-FE9CA8138B60}" type="datetime1">
              <a:rPr lang="en-IE" smtClean="0"/>
              <a:t>21/04/2023</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3170171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IE"/>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D0073F2-7ABE-48B9-AFEC-9DB32AA42DD5}" type="datetime1">
              <a:rPr lang="en-IE" smtClean="0"/>
              <a:t>21/04/2023</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1404406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p:cNvSpPr>
            <a:spLocks noGrp="1"/>
          </p:cNvSpPr>
          <p:nvPr>
            <p:ph type="dt" sz="half" idx="10"/>
          </p:nvPr>
        </p:nvSpPr>
        <p:spPr/>
        <p:txBody>
          <a:bodyPr/>
          <a:lstStyle/>
          <a:p>
            <a:fld id="{2FDA20E2-E7B1-4682-8B84-99F4DC58CA30}" type="datetime1">
              <a:rPr lang="en-IE" smtClean="0"/>
              <a:t>21/04/2023</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4180606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E"/>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0"/>
          </p:nvPr>
        </p:nvSpPr>
        <p:spPr/>
        <p:txBody>
          <a:bodyPr/>
          <a:lstStyle/>
          <a:p>
            <a:fld id="{4ADF5FE0-D94D-4EEF-843B-5836A8AFB3C0}" type="datetime1">
              <a:rPr lang="en-IE" smtClean="0"/>
              <a:t>21/04/2023</a:t>
            </a:fld>
            <a:endParaRPr lang="en-IE"/>
          </a:p>
        </p:txBody>
      </p:sp>
      <p:sp>
        <p:nvSpPr>
          <p:cNvPr id="8" name="Footer Placeholder 7"/>
          <p:cNvSpPr>
            <a:spLocks noGrp="1"/>
          </p:cNvSpPr>
          <p:nvPr>
            <p:ph type="ftr" sz="quarter" idx="11"/>
          </p:nvPr>
        </p:nvSpPr>
        <p:spPr/>
        <p:txBody>
          <a:bodyPr/>
          <a:lstStyle/>
          <a:p>
            <a:endParaRPr lang="en-IE"/>
          </a:p>
        </p:txBody>
      </p:sp>
      <p:sp>
        <p:nvSpPr>
          <p:cNvPr id="9" name="Slide Number Placeholder 8"/>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502320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FCDCF3AC-C4B8-4AC9-8329-010C6389324E}" type="datetime1">
              <a:rPr lang="en-IE" smtClean="0"/>
              <a:t>21/04/2023</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2317187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8446E9-F8A0-4AEA-AB1D-2969258BEFFE}" type="datetime1">
              <a:rPr lang="en-IE" smtClean="0"/>
              <a:t>21/04/2023</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3897677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IE"/>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8F54DFD-5DC6-4DD6-B19D-CF4675B8C8CE}" type="datetime1">
              <a:rPr lang="en-IE" smtClean="0"/>
              <a:t>21/04/2023</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3716367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02162-125D-4048-9864-EBA701B5D3BE}"/>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7DD991C-67AC-4E64-AB43-3474AAB0CB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6713CA4-9976-4BEB-8DD2-82D30B68B556}"/>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5" name="Footer Placeholder 4">
            <a:extLst>
              <a:ext uri="{FF2B5EF4-FFF2-40B4-BE49-F238E27FC236}">
                <a16:creationId xmlns:a16="http://schemas.microsoft.com/office/drawing/2014/main" id="{BAA1A689-4AEE-450C-950C-82CF2C4CFB0A}"/>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468A4C5D-235A-4E0F-86C8-284E885381AF}"/>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41075289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IE"/>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151A3E6-03A4-4F3D-8870-B2356310758E}" type="datetime1">
              <a:rPr lang="en-IE" smtClean="0"/>
              <a:t>21/04/2023</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660545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9B1F3D9B-2D97-458B-A564-DFF5B0235305}" type="datetime1">
              <a:rPr lang="en-IE" smtClean="0"/>
              <a:t>21/04/2023</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3821782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IE"/>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A162F7EC-26EC-46B2-95AA-09EC7209B1D4}" type="datetime1">
              <a:rPr lang="en-IE" smtClean="0"/>
              <a:t>21/04/2023</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E34E2E1A-F74E-4696-BDBE-96A0324E1B66}" type="slidenum">
              <a:rPr lang="en-IE" smtClean="0"/>
              <a:t>‹#›</a:t>
            </a:fld>
            <a:endParaRPr lang="en-IE"/>
          </a:p>
        </p:txBody>
      </p:sp>
    </p:spTree>
    <p:extLst>
      <p:ext uri="{BB962C8B-B14F-4D97-AF65-F5344CB8AC3E}">
        <p14:creationId xmlns:p14="http://schemas.microsoft.com/office/powerpoint/2010/main" val="2023799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GB" smtClean="0"/>
              <a:t>21/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385387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1/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49138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21/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5915245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846CE7D5-CF57-46EF-B807-FDD0502418D4}" type="datetimeFigureOut">
              <a:rPr lang="en-GB" smtClean="0"/>
              <a:t>21/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203092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p:cNvSpPr>
            <a:spLocks noGrp="1"/>
          </p:cNvSpPr>
          <p:nvPr>
            <p:ph type="dt" sz="half" idx="10"/>
          </p:nvPr>
        </p:nvSpPr>
        <p:spPr/>
        <p:txBody>
          <a:bodyPr/>
          <a:lstStyle/>
          <a:p>
            <a:fld id="{846CE7D5-CF57-46EF-B807-FDD0502418D4}" type="datetimeFigureOut">
              <a:rPr lang="en-GB" smtClean="0"/>
              <a:t>21/04/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331723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GB" smtClean="0"/>
              <a:t>21/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2103125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21/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46388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9E684-7139-49A8-A480-05FC534E99B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24F99E80-0BD6-4CA7-BA0D-B48BB5EF88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F8A500-0F40-4807-97DD-7151DF530697}"/>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5" name="Footer Placeholder 4">
            <a:extLst>
              <a:ext uri="{FF2B5EF4-FFF2-40B4-BE49-F238E27FC236}">
                <a16:creationId xmlns:a16="http://schemas.microsoft.com/office/drawing/2014/main" id="{F54C3E2C-E57D-422A-98D3-778FA73955AB}"/>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7876D5D6-BF87-4DD5-8700-1D108C19A67E}"/>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1573727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21/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71841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21/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7189582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1/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2029054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1/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4794456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3B08C-CE8E-4EE4-B9D9-00B50B5DD9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41287D11-3397-4ED2-A40E-4D2955BB56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2251E48D-AA20-437E-B1A2-6A268AC1DBB2}"/>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5" name="Footer Placeholder 4">
            <a:extLst>
              <a:ext uri="{FF2B5EF4-FFF2-40B4-BE49-F238E27FC236}">
                <a16:creationId xmlns:a16="http://schemas.microsoft.com/office/drawing/2014/main" id="{FB818AA5-6E48-425A-88CD-8444B9BA5764}"/>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D8252FB-C90D-42DC-9F1B-11694A876824}"/>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33854531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017D4-CC39-427B-AA0C-4BA17DC6D611}"/>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1137F69-8165-4C47-9972-B36425F60E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B3BED6AF-A9F4-44A2-AADF-00B8D4A720A1}"/>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5" name="Footer Placeholder 4">
            <a:extLst>
              <a:ext uri="{FF2B5EF4-FFF2-40B4-BE49-F238E27FC236}">
                <a16:creationId xmlns:a16="http://schemas.microsoft.com/office/drawing/2014/main" id="{61C837F3-8E5F-428D-99B1-48FAB82AA4C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AE6F1CD-16E8-4044-806B-A103150F48D6}"/>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41206951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28730-0780-47D9-AA30-C102D228F4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4509EC17-76EF-46BF-83D5-A451F2EED8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7D1B98-9FEF-4422-84B2-96650DDF0846}"/>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5" name="Footer Placeholder 4">
            <a:extLst>
              <a:ext uri="{FF2B5EF4-FFF2-40B4-BE49-F238E27FC236}">
                <a16:creationId xmlns:a16="http://schemas.microsoft.com/office/drawing/2014/main" id="{2AE234D0-BC20-47AC-95A6-823DE3796436}"/>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8FF1ACE-2177-42CC-977E-0261E4A47E41}"/>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6802854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8C4D1-3F9F-47C2-9EE6-E633381E88B0}"/>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1AF60961-97EE-45F9-BB5E-D40E6EFFA74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22F69B93-6AF9-4A56-AE2C-6B13319D89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168978A3-CEB9-4D7B-B891-2D55A70FCBDA}"/>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6" name="Footer Placeholder 5">
            <a:extLst>
              <a:ext uri="{FF2B5EF4-FFF2-40B4-BE49-F238E27FC236}">
                <a16:creationId xmlns:a16="http://schemas.microsoft.com/office/drawing/2014/main" id="{10106A96-382E-4833-9420-3F5DE676A45B}"/>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F77AD5E2-5649-41B4-8E46-F629B33401EF}"/>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41946596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D653-4DF9-4F53-B6E5-AB355F884EE2}"/>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7023DCCC-A4C9-417E-AC8B-70182924C2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D8774CC-C225-4416-B557-1655F019B5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43F7ED69-573D-44A5-9B0F-2A82776536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CE5ABD-3264-4725-8A2A-1D1FB3B8BED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C7757369-47EE-4C6A-AD6E-9A147246FF90}"/>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8" name="Footer Placeholder 7">
            <a:extLst>
              <a:ext uri="{FF2B5EF4-FFF2-40B4-BE49-F238E27FC236}">
                <a16:creationId xmlns:a16="http://schemas.microsoft.com/office/drawing/2014/main" id="{EDEA57A8-3B0E-41AB-9533-B3D85CFA144D}"/>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BD1C8771-363A-4B7F-BD24-129BF92C6FDC}"/>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35302775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B4E81-D9E0-429A-8FB2-44E61524E5A6}"/>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2B1F0298-35C4-449E-A1BE-DDC94F1C4D3D}"/>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4" name="Footer Placeholder 3">
            <a:extLst>
              <a:ext uri="{FF2B5EF4-FFF2-40B4-BE49-F238E27FC236}">
                <a16:creationId xmlns:a16="http://schemas.microsoft.com/office/drawing/2014/main" id="{D539BA37-21FD-4939-8B3E-88C89732DBF2}"/>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D4FBD47F-9DB1-4D48-9618-D05E858CA47E}"/>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2244492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568B7-3074-4373-AD37-C940EF23CD18}"/>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F523B9B0-B293-4974-B7F3-218C48A4B32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48390A99-19AE-46F1-B0C0-1C013AB449C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0B12976A-0E06-45F8-89AB-0E16C0063857}"/>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6" name="Footer Placeholder 5">
            <a:extLst>
              <a:ext uri="{FF2B5EF4-FFF2-40B4-BE49-F238E27FC236}">
                <a16:creationId xmlns:a16="http://schemas.microsoft.com/office/drawing/2014/main" id="{6C493283-5411-4927-9636-6254504D87B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5B72C194-65E1-452C-90FC-B1545B89C5B8}"/>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34404504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6AD728-5C3D-4ACB-89DD-886B87D6564C}"/>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3" name="Footer Placeholder 2">
            <a:extLst>
              <a:ext uri="{FF2B5EF4-FFF2-40B4-BE49-F238E27FC236}">
                <a16:creationId xmlns:a16="http://schemas.microsoft.com/office/drawing/2014/main" id="{E5F3E87B-B5F1-4658-8AB3-F76740165FB5}"/>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31D56B18-8F71-4158-BDA9-2AD11432956B}"/>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6420393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A78C3-65DF-473B-8DB0-DF1B680E94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1F4DBE07-D2D9-494F-BA7D-0CF2EDE34D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72AFFF94-6CAC-4B90-B384-F22FA9D55D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3DAA27-B551-4F5B-BCE1-975BC023DE3B}"/>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6" name="Footer Placeholder 5">
            <a:extLst>
              <a:ext uri="{FF2B5EF4-FFF2-40B4-BE49-F238E27FC236}">
                <a16:creationId xmlns:a16="http://schemas.microsoft.com/office/drawing/2014/main" id="{69EF638C-9B96-47C6-BC1A-BDDF068936C5}"/>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593672B-42A6-48D6-B137-BF4B3FABD5D0}"/>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31300606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771B9-8465-42BC-9F2C-6375470BE9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530C8548-4C6A-47BB-9BEC-01DDA0A8CD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EEBA5C96-980D-43DD-A485-D993779B13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5FB77D-0CC9-453B-BC8B-C189AE3B84A6}"/>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6" name="Footer Placeholder 5">
            <a:extLst>
              <a:ext uri="{FF2B5EF4-FFF2-40B4-BE49-F238E27FC236}">
                <a16:creationId xmlns:a16="http://schemas.microsoft.com/office/drawing/2014/main" id="{EFD6C8CC-124C-456C-AA50-8530E4DBA5E4}"/>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4B145B7-B8F0-4086-9F0B-8E2068D81EB8}"/>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9083322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B5853-6304-4AE7-A6E9-564E85D65A47}"/>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6015F286-5096-4FFE-A745-A3F30E3B08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A517600-778F-4E9B-8682-51F3530E6CBA}"/>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5" name="Footer Placeholder 4">
            <a:extLst>
              <a:ext uri="{FF2B5EF4-FFF2-40B4-BE49-F238E27FC236}">
                <a16:creationId xmlns:a16="http://schemas.microsoft.com/office/drawing/2014/main" id="{AE67D595-17FC-4016-88A8-4A40D0A327E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CCE1D38-FF0E-45D8-80DE-E28EA1359DAA}"/>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4728425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78C68C-F43E-4B96-8B8B-CECAFAA5300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6B79918-9BCE-468D-86B1-79DE68B8676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7FA3008-66A1-4273-9CDE-A111CDFB9B20}"/>
              </a:ext>
            </a:extLst>
          </p:cNvPr>
          <p:cNvSpPr>
            <a:spLocks noGrp="1"/>
          </p:cNvSpPr>
          <p:nvPr>
            <p:ph type="dt" sz="half" idx="10"/>
          </p:nvPr>
        </p:nvSpPr>
        <p:spPr/>
        <p:txBody>
          <a:bodyPr/>
          <a:lstStyle/>
          <a:p>
            <a:fld id="{CF51216E-60A2-4901-B95D-7A61DAE70518}" type="datetimeFigureOut">
              <a:rPr lang="en-IE" smtClean="0"/>
              <a:t>21/04/2023</a:t>
            </a:fld>
            <a:endParaRPr lang="en-IE"/>
          </a:p>
        </p:txBody>
      </p:sp>
      <p:sp>
        <p:nvSpPr>
          <p:cNvPr id="5" name="Footer Placeholder 4">
            <a:extLst>
              <a:ext uri="{FF2B5EF4-FFF2-40B4-BE49-F238E27FC236}">
                <a16:creationId xmlns:a16="http://schemas.microsoft.com/office/drawing/2014/main" id="{F0CFEEE0-79BA-4264-BFC1-371E596ABD89}"/>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50DD009E-469A-4C39-AB63-CB44C8510AE9}"/>
              </a:ext>
            </a:extLst>
          </p:cNvPr>
          <p:cNvSpPr>
            <a:spLocks noGrp="1"/>
          </p:cNvSpPr>
          <p:nvPr>
            <p:ph type="sldNum" sz="quarter" idx="12"/>
          </p:nvPr>
        </p:nvSpPr>
        <p:spPr/>
        <p:txBody>
          <a:bodyPr/>
          <a:lstStyle/>
          <a:p>
            <a:fld id="{B01B3BAB-C737-46B4-9E6D-DDEF786F209E}" type="slidenum">
              <a:rPr lang="en-IE" smtClean="0"/>
              <a:t>‹#›</a:t>
            </a:fld>
            <a:endParaRPr lang="en-IE"/>
          </a:p>
        </p:txBody>
      </p:sp>
    </p:spTree>
    <p:extLst>
      <p:ext uri="{BB962C8B-B14F-4D97-AF65-F5344CB8AC3E}">
        <p14:creationId xmlns:p14="http://schemas.microsoft.com/office/powerpoint/2010/main" val="36876415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1"/>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9"/>
          <p:cNvSpPr/>
          <p:nvPr/>
        </p:nvSpPr>
        <p:spPr>
          <a:xfrm>
            <a:off x="6350" y="1"/>
            <a:ext cx="12185652" cy="4572001"/>
          </a:xfrm>
          <a:custGeom>
            <a:avLst/>
            <a:gdLst/>
            <a:ahLst/>
            <a:cxnLst/>
            <a:rect l="l" t="t" r="r" b="b"/>
            <a:pathLst>
              <a:path w="9139239" h="4572001">
                <a:moveTo>
                  <a:pt x="9139239" y="4171458"/>
                </a:moveTo>
                <a:lnTo>
                  <a:pt x="9139239" y="4479120"/>
                </a:lnTo>
                <a:lnTo>
                  <a:pt x="9061857" y="4572001"/>
                </a:lnTo>
                <a:lnTo>
                  <a:pt x="8867616" y="4572001"/>
                </a:lnTo>
                <a:cubicBezTo>
                  <a:pt x="8974940" y="4496648"/>
                  <a:pt x="9059271" y="4392377"/>
                  <a:pt x="9109281" y="4270954"/>
                </a:cubicBezTo>
                <a:close/>
                <a:moveTo>
                  <a:pt x="9139239" y="4017903"/>
                </a:moveTo>
                <a:lnTo>
                  <a:pt x="9139239" y="4146549"/>
                </a:lnTo>
                <a:lnTo>
                  <a:pt x="9061849" y="4168266"/>
                </a:lnTo>
                <a:cubicBezTo>
                  <a:pt x="8867508" y="4236060"/>
                  <a:pt x="8712637" y="4384208"/>
                  <a:pt x="8639677" y="4572001"/>
                </a:cubicBezTo>
                <a:lnTo>
                  <a:pt x="8502130" y="4572001"/>
                </a:lnTo>
                <a:cubicBezTo>
                  <a:pt x="8583823" y="4319597"/>
                  <a:pt x="8787913" y="4120306"/>
                  <a:pt x="9046727" y="4039822"/>
                </a:cubicBezTo>
                <a:close/>
                <a:moveTo>
                  <a:pt x="7620280" y="3999419"/>
                </a:moveTo>
                <a:lnTo>
                  <a:pt x="7637367" y="4001042"/>
                </a:lnTo>
                <a:cubicBezTo>
                  <a:pt x="7669753" y="4001569"/>
                  <a:pt x="7701646" y="4004550"/>
                  <a:pt x="7732829" y="4010107"/>
                </a:cubicBezTo>
                <a:cubicBezTo>
                  <a:pt x="7738405" y="4009688"/>
                  <a:pt x="7743733" y="4010636"/>
                  <a:pt x="7749042" y="4011646"/>
                </a:cubicBezTo>
                <a:lnTo>
                  <a:pt x="7749159" y="4012794"/>
                </a:lnTo>
                <a:cubicBezTo>
                  <a:pt x="8061238" y="4064450"/>
                  <a:pt x="8314467" y="4283539"/>
                  <a:pt x="8407830" y="4572001"/>
                </a:cubicBezTo>
                <a:lnTo>
                  <a:pt x="8270283" y="4572001"/>
                </a:lnTo>
                <a:cubicBezTo>
                  <a:pt x="8186900" y="4357380"/>
                  <a:pt x="7996531" y="4194541"/>
                  <a:pt x="7762529" y="4144250"/>
                </a:cubicBezTo>
                <a:cubicBezTo>
                  <a:pt x="7797023" y="4319651"/>
                  <a:pt x="7899246" y="4471530"/>
                  <a:pt x="8042344" y="4572001"/>
                </a:cubicBezTo>
                <a:lnTo>
                  <a:pt x="7848103" y="4572001"/>
                </a:lnTo>
                <a:cubicBezTo>
                  <a:pt x="7731971" y="4452596"/>
                  <a:pt x="7653409" y="4298519"/>
                  <a:pt x="7629044" y="4127511"/>
                </a:cubicBezTo>
                <a:cubicBezTo>
                  <a:pt x="7628876" y="4127458"/>
                  <a:pt x="7628708" y="4127453"/>
                  <a:pt x="7628538" y="4127448"/>
                </a:cubicBezTo>
                <a:lnTo>
                  <a:pt x="7628000" y="4120772"/>
                </a:lnTo>
                <a:cubicBezTo>
                  <a:pt x="7622941" y="4090522"/>
                  <a:pt x="7620490" y="4059631"/>
                  <a:pt x="7620533" y="4028296"/>
                </a:cubicBezTo>
                <a:cubicBezTo>
                  <a:pt x="7619221" y="4022668"/>
                  <a:pt x="7619162" y="4017001"/>
                  <a:pt x="7619162" y="4011320"/>
                </a:cubicBezTo>
                <a:lnTo>
                  <a:pt x="7619756" y="3999880"/>
                </a:lnTo>
                <a:lnTo>
                  <a:pt x="7620254" y="3999913"/>
                </a:lnTo>
                <a:close/>
                <a:moveTo>
                  <a:pt x="7597529" y="3999419"/>
                </a:moveTo>
                <a:lnTo>
                  <a:pt x="7597555" y="3999913"/>
                </a:lnTo>
                <a:lnTo>
                  <a:pt x="7598053" y="3999880"/>
                </a:lnTo>
                <a:lnTo>
                  <a:pt x="7598647" y="4011320"/>
                </a:lnTo>
                <a:cubicBezTo>
                  <a:pt x="7598647" y="4017001"/>
                  <a:pt x="7598588" y="4022668"/>
                  <a:pt x="7597276" y="4028296"/>
                </a:cubicBezTo>
                <a:cubicBezTo>
                  <a:pt x="7597319" y="4059631"/>
                  <a:pt x="7594868" y="4090522"/>
                  <a:pt x="7589809" y="4120772"/>
                </a:cubicBezTo>
                <a:lnTo>
                  <a:pt x="7589271" y="4127448"/>
                </a:lnTo>
                <a:cubicBezTo>
                  <a:pt x="7589101" y="4127453"/>
                  <a:pt x="7588933" y="4127458"/>
                  <a:pt x="7588765" y="4127511"/>
                </a:cubicBezTo>
                <a:cubicBezTo>
                  <a:pt x="7564400" y="4298519"/>
                  <a:pt x="7485838" y="4452596"/>
                  <a:pt x="7369706" y="4572001"/>
                </a:cubicBezTo>
                <a:lnTo>
                  <a:pt x="7175465" y="4572001"/>
                </a:lnTo>
                <a:cubicBezTo>
                  <a:pt x="7318563" y="4471530"/>
                  <a:pt x="7420786" y="4319651"/>
                  <a:pt x="7455280" y="4144250"/>
                </a:cubicBezTo>
                <a:cubicBezTo>
                  <a:pt x="7221278" y="4194541"/>
                  <a:pt x="7030909" y="4357380"/>
                  <a:pt x="6947526" y="4572001"/>
                </a:cubicBezTo>
                <a:lnTo>
                  <a:pt x="6809978" y="4572001"/>
                </a:lnTo>
                <a:cubicBezTo>
                  <a:pt x="6903341" y="4283539"/>
                  <a:pt x="7156571" y="4064450"/>
                  <a:pt x="7468650" y="4012794"/>
                </a:cubicBezTo>
                <a:lnTo>
                  <a:pt x="7468767" y="4011646"/>
                </a:lnTo>
                <a:cubicBezTo>
                  <a:pt x="7474076" y="4010636"/>
                  <a:pt x="7479404" y="4009688"/>
                  <a:pt x="7484980" y="4010107"/>
                </a:cubicBezTo>
                <a:cubicBezTo>
                  <a:pt x="7516163" y="4004550"/>
                  <a:pt x="7548056" y="4001569"/>
                  <a:pt x="7580442" y="4001042"/>
                </a:cubicBezTo>
                <a:close/>
                <a:moveTo>
                  <a:pt x="5928129" y="3999419"/>
                </a:moveTo>
                <a:lnTo>
                  <a:pt x="5945217" y="4001042"/>
                </a:lnTo>
                <a:cubicBezTo>
                  <a:pt x="5977602" y="4001569"/>
                  <a:pt x="6009495" y="4004550"/>
                  <a:pt x="6040678" y="4010107"/>
                </a:cubicBezTo>
                <a:cubicBezTo>
                  <a:pt x="6046254" y="4009688"/>
                  <a:pt x="6051582" y="4010636"/>
                  <a:pt x="6056891" y="4011646"/>
                </a:cubicBezTo>
                <a:lnTo>
                  <a:pt x="6057008" y="4012794"/>
                </a:lnTo>
                <a:cubicBezTo>
                  <a:pt x="6369087" y="4064450"/>
                  <a:pt x="6622316" y="4283539"/>
                  <a:pt x="6715680" y="4572001"/>
                </a:cubicBezTo>
                <a:lnTo>
                  <a:pt x="6578131" y="4572001"/>
                </a:lnTo>
                <a:cubicBezTo>
                  <a:pt x="6494748" y="4357380"/>
                  <a:pt x="6304380" y="4194541"/>
                  <a:pt x="6070378" y="4144250"/>
                </a:cubicBezTo>
                <a:cubicBezTo>
                  <a:pt x="6104872" y="4319650"/>
                  <a:pt x="6207095" y="4471530"/>
                  <a:pt x="6350192" y="4572001"/>
                </a:cubicBezTo>
                <a:lnTo>
                  <a:pt x="6155952" y="4572001"/>
                </a:lnTo>
                <a:cubicBezTo>
                  <a:pt x="6039820" y="4452596"/>
                  <a:pt x="5961257" y="4298519"/>
                  <a:pt x="5936893" y="4127511"/>
                </a:cubicBezTo>
                <a:cubicBezTo>
                  <a:pt x="5936725" y="4127458"/>
                  <a:pt x="5936557" y="4127453"/>
                  <a:pt x="5936387" y="4127448"/>
                </a:cubicBezTo>
                <a:lnTo>
                  <a:pt x="5935849" y="4120772"/>
                </a:lnTo>
                <a:cubicBezTo>
                  <a:pt x="5930790" y="4090522"/>
                  <a:pt x="5928340" y="4059631"/>
                  <a:pt x="5928382" y="4028296"/>
                </a:cubicBezTo>
                <a:cubicBezTo>
                  <a:pt x="5927070" y="4022668"/>
                  <a:pt x="5927011" y="4017001"/>
                  <a:pt x="5927011" y="4011320"/>
                </a:cubicBezTo>
                <a:lnTo>
                  <a:pt x="5927605" y="3999880"/>
                </a:lnTo>
                <a:lnTo>
                  <a:pt x="5928103" y="3999913"/>
                </a:lnTo>
                <a:close/>
                <a:moveTo>
                  <a:pt x="5905378" y="3999419"/>
                </a:moveTo>
                <a:lnTo>
                  <a:pt x="5905404" y="3999913"/>
                </a:lnTo>
                <a:lnTo>
                  <a:pt x="5905902" y="3999880"/>
                </a:lnTo>
                <a:lnTo>
                  <a:pt x="5906496" y="4011320"/>
                </a:lnTo>
                <a:cubicBezTo>
                  <a:pt x="5906496" y="4017001"/>
                  <a:pt x="5906437" y="4022668"/>
                  <a:pt x="5905125" y="4028296"/>
                </a:cubicBezTo>
                <a:cubicBezTo>
                  <a:pt x="5905167" y="4059631"/>
                  <a:pt x="5902717" y="4090522"/>
                  <a:pt x="5897658" y="4120772"/>
                </a:cubicBezTo>
                <a:lnTo>
                  <a:pt x="5897120" y="4127448"/>
                </a:lnTo>
                <a:cubicBezTo>
                  <a:pt x="5896950" y="4127453"/>
                  <a:pt x="5896782" y="4127458"/>
                  <a:pt x="5896614" y="4127511"/>
                </a:cubicBezTo>
                <a:cubicBezTo>
                  <a:pt x="5872249" y="4298519"/>
                  <a:pt x="5793686" y="4452596"/>
                  <a:pt x="5677555" y="4572001"/>
                </a:cubicBezTo>
                <a:lnTo>
                  <a:pt x="5483314" y="4572001"/>
                </a:lnTo>
                <a:cubicBezTo>
                  <a:pt x="5626412" y="4471530"/>
                  <a:pt x="5728635" y="4319650"/>
                  <a:pt x="5763129" y="4144250"/>
                </a:cubicBezTo>
                <a:cubicBezTo>
                  <a:pt x="5529126" y="4194541"/>
                  <a:pt x="5338758" y="4357380"/>
                  <a:pt x="5255375" y="4572001"/>
                </a:cubicBezTo>
                <a:lnTo>
                  <a:pt x="5117827" y="4572001"/>
                </a:lnTo>
                <a:cubicBezTo>
                  <a:pt x="5211190" y="4283539"/>
                  <a:pt x="5464420" y="4064450"/>
                  <a:pt x="5776499" y="4012794"/>
                </a:cubicBezTo>
                <a:lnTo>
                  <a:pt x="5776616" y="4011646"/>
                </a:lnTo>
                <a:cubicBezTo>
                  <a:pt x="5781926" y="4010636"/>
                  <a:pt x="5787253" y="4009688"/>
                  <a:pt x="5792829" y="4010107"/>
                </a:cubicBezTo>
                <a:cubicBezTo>
                  <a:pt x="5824012" y="4004550"/>
                  <a:pt x="5855905" y="4001569"/>
                  <a:pt x="5888290" y="4001042"/>
                </a:cubicBezTo>
                <a:close/>
                <a:moveTo>
                  <a:pt x="4235979" y="3999419"/>
                </a:moveTo>
                <a:lnTo>
                  <a:pt x="4253065" y="4001042"/>
                </a:lnTo>
                <a:cubicBezTo>
                  <a:pt x="4285451" y="4001569"/>
                  <a:pt x="4317343" y="4004550"/>
                  <a:pt x="4348528" y="4010107"/>
                </a:cubicBezTo>
                <a:cubicBezTo>
                  <a:pt x="4354104" y="4009688"/>
                  <a:pt x="4359431" y="4010636"/>
                  <a:pt x="4364739" y="4011646"/>
                </a:cubicBezTo>
                <a:lnTo>
                  <a:pt x="4364856" y="4012794"/>
                </a:lnTo>
                <a:cubicBezTo>
                  <a:pt x="4676936" y="4064450"/>
                  <a:pt x="4930165" y="4283539"/>
                  <a:pt x="5023528" y="4572001"/>
                </a:cubicBezTo>
                <a:lnTo>
                  <a:pt x="4885980" y="4572001"/>
                </a:lnTo>
                <a:cubicBezTo>
                  <a:pt x="4802597" y="4357380"/>
                  <a:pt x="4612229" y="4194541"/>
                  <a:pt x="4378227" y="4144250"/>
                </a:cubicBezTo>
                <a:cubicBezTo>
                  <a:pt x="4412722" y="4319651"/>
                  <a:pt x="4514944" y="4471530"/>
                  <a:pt x="4658041" y="4572001"/>
                </a:cubicBezTo>
                <a:lnTo>
                  <a:pt x="4463800" y="4572001"/>
                </a:lnTo>
                <a:cubicBezTo>
                  <a:pt x="4347669" y="4452596"/>
                  <a:pt x="4269106" y="4298519"/>
                  <a:pt x="4244741" y="4127511"/>
                </a:cubicBezTo>
                <a:cubicBezTo>
                  <a:pt x="4244574" y="4127458"/>
                  <a:pt x="4244405" y="4127453"/>
                  <a:pt x="4244236" y="4127448"/>
                </a:cubicBezTo>
                <a:lnTo>
                  <a:pt x="4243697" y="4120772"/>
                </a:lnTo>
                <a:cubicBezTo>
                  <a:pt x="4238639" y="4090522"/>
                  <a:pt x="4236188" y="4059631"/>
                  <a:pt x="4236230" y="4028296"/>
                </a:cubicBezTo>
                <a:cubicBezTo>
                  <a:pt x="4234918" y="4022668"/>
                  <a:pt x="4234860" y="4017001"/>
                  <a:pt x="4234860" y="4011320"/>
                </a:cubicBezTo>
                <a:lnTo>
                  <a:pt x="4235454" y="3999880"/>
                </a:lnTo>
                <a:lnTo>
                  <a:pt x="4235952" y="3999913"/>
                </a:lnTo>
                <a:close/>
                <a:moveTo>
                  <a:pt x="4213227" y="3999419"/>
                </a:moveTo>
                <a:lnTo>
                  <a:pt x="4213253" y="3999913"/>
                </a:lnTo>
                <a:lnTo>
                  <a:pt x="4213751" y="3999880"/>
                </a:lnTo>
                <a:lnTo>
                  <a:pt x="4214345" y="4011320"/>
                </a:lnTo>
                <a:cubicBezTo>
                  <a:pt x="4214345" y="4017001"/>
                  <a:pt x="4214286" y="4022668"/>
                  <a:pt x="4212974" y="4028296"/>
                </a:cubicBezTo>
                <a:cubicBezTo>
                  <a:pt x="4213016" y="4059631"/>
                  <a:pt x="4210566" y="4090522"/>
                  <a:pt x="4205507" y="4120772"/>
                </a:cubicBezTo>
                <a:lnTo>
                  <a:pt x="4204969" y="4127448"/>
                </a:lnTo>
                <a:cubicBezTo>
                  <a:pt x="4204799" y="4127453"/>
                  <a:pt x="4204631" y="4127458"/>
                  <a:pt x="4204463" y="4127511"/>
                </a:cubicBezTo>
                <a:cubicBezTo>
                  <a:pt x="4180098" y="4298519"/>
                  <a:pt x="4101535" y="4452596"/>
                  <a:pt x="3985404" y="4572001"/>
                </a:cubicBezTo>
                <a:lnTo>
                  <a:pt x="3791163" y="4572001"/>
                </a:lnTo>
                <a:cubicBezTo>
                  <a:pt x="3934261" y="4471530"/>
                  <a:pt x="4036484" y="4319651"/>
                  <a:pt x="4070978" y="4144250"/>
                </a:cubicBezTo>
                <a:cubicBezTo>
                  <a:pt x="3836975" y="4194541"/>
                  <a:pt x="3646607" y="4357380"/>
                  <a:pt x="3563224" y="4572001"/>
                </a:cubicBezTo>
                <a:lnTo>
                  <a:pt x="3425676" y="4572001"/>
                </a:lnTo>
                <a:cubicBezTo>
                  <a:pt x="3519039" y="4283539"/>
                  <a:pt x="3772269" y="4064450"/>
                  <a:pt x="4084348" y="4012794"/>
                </a:cubicBezTo>
                <a:lnTo>
                  <a:pt x="4084465" y="4011646"/>
                </a:lnTo>
                <a:cubicBezTo>
                  <a:pt x="4089774" y="4010636"/>
                  <a:pt x="4095102" y="4009688"/>
                  <a:pt x="4100678" y="4010107"/>
                </a:cubicBezTo>
                <a:cubicBezTo>
                  <a:pt x="4131861" y="4004550"/>
                  <a:pt x="4163754" y="4001569"/>
                  <a:pt x="4196139" y="4001042"/>
                </a:cubicBezTo>
                <a:close/>
                <a:moveTo>
                  <a:pt x="2543827" y="3999419"/>
                </a:moveTo>
                <a:lnTo>
                  <a:pt x="2560914" y="4001042"/>
                </a:lnTo>
                <a:cubicBezTo>
                  <a:pt x="2593300" y="4001569"/>
                  <a:pt x="2625192" y="4004550"/>
                  <a:pt x="2656376" y="4010107"/>
                </a:cubicBezTo>
                <a:cubicBezTo>
                  <a:pt x="2661952" y="4009688"/>
                  <a:pt x="2667280" y="4010636"/>
                  <a:pt x="2672588" y="4011646"/>
                </a:cubicBezTo>
                <a:lnTo>
                  <a:pt x="2672706" y="4012794"/>
                </a:lnTo>
                <a:cubicBezTo>
                  <a:pt x="2984785" y="4064450"/>
                  <a:pt x="3238014" y="4283539"/>
                  <a:pt x="3331377" y="4572001"/>
                </a:cubicBezTo>
                <a:lnTo>
                  <a:pt x="3193830" y="4572001"/>
                </a:lnTo>
                <a:cubicBezTo>
                  <a:pt x="3110446" y="4357380"/>
                  <a:pt x="2920078" y="4194541"/>
                  <a:pt x="2686076" y="4144250"/>
                </a:cubicBezTo>
                <a:cubicBezTo>
                  <a:pt x="2720570" y="4319650"/>
                  <a:pt x="2822793" y="4471530"/>
                  <a:pt x="2965890" y="4572001"/>
                </a:cubicBezTo>
                <a:lnTo>
                  <a:pt x="2771649" y="4572001"/>
                </a:lnTo>
                <a:cubicBezTo>
                  <a:pt x="2655518" y="4452596"/>
                  <a:pt x="2576955" y="4298519"/>
                  <a:pt x="2552590" y="4127511"/>
                </a:cubicBezTo>
                <a:cubicBezTo>
                  <a:pt x="2552423" y="4127458"/>
                  <a:pt x="2552254" y="4127453"/>
                  <a:pt x="2552085" y="4127448"/>
                </a:cubicBezTo>
                <a:lnTo>
                  <a:pt x="2551547" y="4120772"/>
                </a:lnTo>
                <a:cubicBezTo>
                  <a:pt x="2546488" y="4090522"/>
                  <a:pt x="2544037" y="4059631"/>
                  <a:pt x="2544079" y="4028296"/>
                </a:cubicBezTo>
                <a:cubicBezTo>
                  <a:pt x="2542767" y="4022668"/>
                  <a:pt x="2542709" y="4017001"/>
                  <a:pt x="2542709" y="4011320"/>
                </a:cubicBezTo>
                <a:lnTo>
                  <a:pt x="2543303" y="3999880"/>
                </a:lnTo>
                <a:lnTo>
                  <a:pt x="2543801" y="3999913"/>
                </a:lnTo>
                <a:close/>
                <a:moveTo>
                  <a:pt x="2521076" y="3999419"/>
                </a:moveTo>
                <a:lnTo>
                  <a:pt x="2521102" y="3999913"/>
                </a:lnTo>
                <a:lnTo>
                  <a:pt x="2521600" y="3999880"/>
                </a:lnTo>
                <a:lnTo>
                  <a:pt x="2522194" y="4011320"/>
                </a:lnTo>
                <a:cubicBezTo>
                  <a:pt x="2522194" y="4017001"/>
                  <a:pt x="2522135" y="4022668"/>
                  <a:pt x="2520823" y="4028296"/>
                </a:cubicBezTo>
                <a:cubicBezTo>
                  <a:pt x="2520865" y="4059631"/>
                  <a:pt x="2518415" y="4090522"/>
                  <a:pt x="2513356" y="4120772"/>
                </a:cubicBezTo>
                <a:lnTo>
                  <a:pt x="2512818" y="4127448"/>
                </a:lnTo>
                <a:cubicBezTo>
                  <a:pt x="2512648" y="4127453"/>
                  <a:pt x="2512480" y="4127458"/>
                  <a:pt x="2512312" y="4127511"/>
                </a:cubicBezTo>
                <a:cubicBezTo>
                  <a:pt x="2487947" y="4298519"/>
                  <a:pt x="2409385" y="4452596"/>
                  <a:pt x="2293253" y="4572001"/>
                </a:cubicBezTo>
                <a:lnTo>
                  <a:pt x="2099012" y="4572001"/>
                </a:lnTo>
                <a:cubicBezTo>
                  <a:pt x="2242110" y="4471530"/>
                  <a:pt x="2344333" y="4319651"/>
                  <a:pt x="2378827" y="4144250"/>
                </a:cubicBezTo>
                <a:cubicBezTo>
                  <a:pt x="2144825" y="4194541"/>
                  <a:pt x="1954456" y="4357380"/>
                  <a:pt x="1871073" y="4572001"/>
                </a:cubicBezTo>
                <a:lnTo>
                  <a:pt x="1733525" y="4572001"/>
                </a:lnTo>
                <a:cubicBezTo>
                  <a:pt x="1826888" y="4283539"/>
                  <a:pt x="2080118" y="4064450"/>
                  <a:pt x="2392197" y="4012794"/>
                </a:cubicBezTo>
                <a:lnTo>
                  <a:pt x="2392314" y="4011646"/>
                </a:lnTo>
                <a:cubicBezTo>
                  <a:pt x="2397623" y="4010636"/>
                  <a:pt x="2402951" y="4009688"/>
                  <a:pt x="2408527" y="4010107"/>
                </a:cubicBezTo>
                <a:cubicBezTo>
                  <a:pt x="2439710" y="4004550"/>
                  <a:pt x="2471603" y="4001569"/>
                  <a:pt x="2503988" y="4001042"/>
                </a:cubicBezTo>
                <a:close/>
                <a:moveTo>
                  <a:pt x="851676" y="3999419"/>
                </a:moveTo>
                <a:lnTo>
                  <a:pt x="868763" y="4001042"/>
                </a:lnTo>
                <a:cubicBezTo>
                  <a:pt x="901149" y="4001569"/>
                  <a:pt x="933041" y="4004550"/>
                  <a:pt x="964225" y="4010107"/>
                </a:cubicBezTo>
                <a:cubicBezTo>
                  <a:pt x="969801" y="4009688"/>
                  <a:pt x="975129" y="4010636"/>
                  <a:pt x="980437" y="4011646"/>
                </a:cubicBezTo>
                <a:lnTo>
                  <a:pt x="980555" y="4012794"/>
                </a:lnTo>
                <a:cubicBezTo>
                  <a:pt x="1292634" y="4064450"/>
                  <a:pt x="1545864" y="4283539"/>
                  <a:pt x="1639226" y="4572001"/>
                </a:cubicBezTo>
                <a:lnTo>
                  <a:pt x="1501679" y="4572001"/>
                </a:lnTo>
                <a:cubicBezTo>
                  <a:pt x="1418296" y="4357380"/>
                  <a:pt x="1227927" y="4194541"/>
                  <a:pt x="993925" y="4144250"/>
                </a:cubicBezTo>
                <a:cubicBezTo>
                  <a:pt x="1028419" y="4319651"/>
                  <a:pt x="1130642" y="4471530"/>
                  <a:pt x="1273740" y="4572001"/>
                </a:cubicBezTo>
                <a:lnTo>
                  <a:pt x="1079499" y="4572001"/>
                </a:lnTo>
                <a:cubicBezTo>
                  <a:pt x="963367" y="4452596"/>
                  <a:pt x="884804" y="4298519"/>
                  <a:pt x="860439" y="4127511"/>
                </a:cubicBezTo>
                <a:cubicBezTo>
                  <a:pt x="860272" y="4127458"/>
                  <a:pt x="860103" y="4127453"/>
                  <a:pt x="859934" y="4127448"/>
                </a:cubicBezTo>
                <a:lnTo>
                  <a:pt x="859396" y="4120772"/>
                </a:lnTo>
                <a:cubicBezTo>
                  <a:pt x="854337" y="4090522"/>
                  <a:pt x="851886" y="4059631"/>
                  <a:pt x="851928" y="4028296"/>
                </a:cubicBezTo>
                <a:cubicBezTo>
                  <a:pt x="850616" y="4022668"/>
                  <a:pt x="850558" y="4017001"/>
                  <a:pt x="850558" y="4011320"/>
                </a:cubicBezTo>
                <a:lnTo>
                  <a:pt x="851152" y="3999880"/>
                </a:lnTo>
                <a:lnTo>
                  <a:pt x="851650" y="3999913"/>
                </a:lnTo>
                <a:close/>
                <a:moveTo>
                  <a:pt x="828925" y="3999419"/>
                </a:moveTo>
                <a:lnTo>
                  <a:pt x="828951" y="3999913"/>
                </a:lnTo>
                <a:lnTo>
                  <a:pt x="829449" y="3999880"/>
                </a:lnTo>
                <a:lnTo>
                  <a:pt x="830043" y="4011320"/>
                </a:lnTo>
                <a:cubicBezTo>
                  <a:pt x="830043" y="4017001"/>
                  <a:pt x="829984" y="4022668"/>
                  <a:pt x="828672" y="4028296"/>
                </a:cubicBezTo>
                <a:cubicBezTo>
                  <a:pt x="828714" y="4059631"/>
                  <a:pt x="826264" y="4090522"/>
                  <a:pt x="821205" y="4120772"/>
                </a:cubicBezTo>
                <a:lnTo>
                  <a:pt x="820667" y="4127448"/>
                </a:lnTo>
                <a:cubicBezTo>
                  <a:pt x="820497" y="4127453"/>
                  <a:pt x="820329" y="4127458"/>
                  <a:pt x="820161" y="4127511"/>
                </a:cubicBezTo>
                <a:cubicBezTo>
                  <a:pt x="795796" y="4298519"/>
                  <a:pt x="717234" y="4452596"/>
                  <a:pt x="601102" y="4572001"/>
                </a:cubicBezTo>
                <a:lnTo>
                  <a:pt x="406861" y="4572001"/>
                </a:lnTo>
                <a:cubicBezTo>
                  <a:pt x="549959" y="4471530"/>
                  <a:pt x="652182" y="4319650"/>
                  <a:pt x="686676" y="4144250"/>
                </a:cubicBezTo>
                <a:cubicBezTo>
                  <a:pt x="452674" y="4194541"/>
                  <a:pt x="262305" y="4357380"/>
                  <a:pt x="178922" y="4572001"/>
                </a:cubicBezTo>
                <a:lnTo>
                  <a:pt x="41374" y="4572001"/>
                </a:lnTo>
                <a:cubicBezTo>
                  <a:pt x="134738" y="4283539"/>
                  <a:pt x="387967" y="4064450"/>
                  <a:pt x="700046" y="4012794"/>
                </a:cubicBezTo>
                <a:lnTo>
                  <a:pt x="700163" y="4011646"/>
                </a:lnTo>
                <a:cubicBezTo>
                  <a:pt x="705472" y="4010636"/>
                  <a:pt x="710800" y="4009688"/>
                  <a:pt x="716376" y="4010107"/>
                </a:cubicBezTo>
                <a:cubicBezTo>
                  <a:pt x="747559" y="4004550"/>
                  <a:pt x="779452" y="4001569"/>
                  <a:pt x="811837" y="4001042"/>
                </a:cubicBezTo>
                <a:close/>
                <a:moveTo>
                  <a:pt x="8305836" y="3304913"/>
                </a:moveTo>
                <a:cubicBezTo>
                  <a:pt x="8030646" y="3363591"/>
                  <a:pt x="7815802" y="3576701"/>
                  <a:pt x="7762527" y="3845480"/>
                </a:cubicBezTo>
                <a:cubicBezTo>
                  <a:pt x="8037717" y="3786801"/>
                  <a:pt x="8252560" y="3573691"/>
                  <a:pt x="8305836" y="3304913"/>
                </a:cubicBezTo>
                <a:close/>
                <a:moveTo>
                  <a:pt x="6911971" y="3304913"/>
                </a:moveTo>
                <a:cubicBezTo>
                  <a:pt x="6965247" y="3573691"/>
                  <a:pt x="7180090" y="3786801"/>
                  <a:pt x="7455280" y="3845480"/>
                </a:cubicBezTo>
                <a:cubicBezTo>
                  <a:pt x="7402005" y="3576701"/>
                  <a:pt x="7187161" y="3363591"/>
                  <a:pt x="6911971" y="3304913"/>
                </a:cubicBezTo>
                <a:close/>
                <a:moveTo>
                  <a:pt x="6613685" y="3304913"/>
                </a:moveTo>
                <a:cubicBezTo>
                  <a:pt x="6338495" y="3363591"/>
                  <a:pt x="6123651" y="3576701"/>
                  <a:pt x="6070376" y="3845480"/>
                </a:cubicBezTo>
                <a:cubicBezTo>
                  <a:pt x="6345566" y="3786801"/>
                  <a:pt x="6560409" y="3573691"/>
                  <a:pt x="6613685" y="3304913"/>
                </a:cubicBezTo>
                <a:close/>
                <a:moveTo>
                  <a:pt x="5219820" y="3304913"/>
                </a:moveTo>
                <a:cubicBezTo>
                  <a:pt x="5273096" y="3573691"/>
                  <a:pt x="5487939" y="3786801"/>
                  <a:pt x="5763129" y="3845480"/>
                </a:cubicBezTo>
                <a:cubicBezTo>
                  <a:pt x="5709854" y="3576701"/>
                  <a:pt x="5495010" y="3363591"/>
                  <a:pt x="5219820" y="3304913"/>
                </a:cubicBezTo>
                <a:close/>
                <a:moveTo>
                  <a:pt x="4921534" y="3304913"/>
                </a:moveTo>
                <a:cubicBezTo>
                  <a:pt x="4646344" y="3363591"/>
                  <a:pt x="4431500" y="3576701"/>
                  <a:pt x="4378225" y="3845480"/>
                </a:cubicBezTo>
                <a:cubicBezTo>
                  <a:pt x="4653415" y="3786801"/>
                  <a:pt x="4868259" y="3573691"/>
                  <a:pt x="4921534" y="3304913"/>
                </a:cubicBezTo>
                <a:close/>
                <a:moveTo>
                  <a:pt x="3527669" y="3304913"/>
                </a:moveTo>
                <a:cubicBezTo>
                  <a:pt x="3580945" y="3573691"/>
                  <a:pt x="3795788" y="3786801"/>
                  <a:pt x="4070978" y="3845480"/>
                </a:cubicBezTo>
                <a:cubicBezTo>
                  <a:pt x="4017703" y="3576701"/>
                  <a:pt x="3802859" y="3363591"/>
                  <a:pt x="3527669" y="3304913"/>
                </a:cubicBezTo>
                <a:close/>
                <a:moveTo>
                  <a:pt x="3229383" y="3304913"/>
                </a:moveTo>
                <a:cubicBezTo>
                  <a:pt x="2954193" y="3363591"/>
                  <a:pt x="2739349" y="3576701"/>
                  <a:pt x="2686074" y="3845480"/>
                </a:cubicBezTo>
                <a:cubicBezTo>
                  <a:pt x="2961264" y="3786801"/>
                  <a:pt x="3176107" y="3573691"/>
                  <a:pt x="3229383" y="3304913"/>
                </a:cubicBezTo>
                <a:close/>
                <a:moveTo>
                  <a:pt x="1835518" y="3304913"/>
                </a:moveTo>
                <a:cubicBezTo>
                  <a:pt x="1888794" y="3573691"/>
                  <a:pt x="2103637" y="3786801"/>
                  <a:pt x="2378827" y="3845480"/>
                </a:cubicBezTo>
                <a:cubicBezTo>
                  <a:pt x="2325552" y="3576701"/>
                  <a:pt x="2110708" y="3363591"/>
                  <a:pt x="1835518" y="3304913"/>
                </a:cubicBezTo>
                <a:close/>
                <a:moveTo>
                  <a:pt x="1537232" y="3304913"/>
                </a:moveTo>
                <a:cubicBezTo>
                  <a:pt x="1262042" y="3363591"/>
                  <a:pt x="1047198" y="3576701"/>
                  <a:pt x="993923" y="3845480"/>
                </a:cubicBezTo>
                <a:cubicBezTo>
                  <a:pt x="1269113" y="3786801"/>
                  <a:pt x="1483956" y="3573691"/>
                  <a:pt x="1537232" y="3304913"/>
                </a:cubicBezTo>
                <a:close/>
                <a:moveTo>
                  <a:pt x="143367" y="3304913"/>
                </a:moveTo>
                <a:cubicBezTo>
                  <a:pt x="196643" y="3573691"/>
                  <a:pt x="411486" y="3786801"/>
                  <a:pt x="686676" y="3845480"/>
                </a:cubicBezTo>
                <a:cubicBezTo>
                  <a:pt x="633401" y="3576701"/>
                  <a:pt x="418557" y="3363591"/>
                  <a:pt x="143367" y="3304913"/>
                </a:cubicBezTo>
                <a:close/>
                <a:moveTo>
                  <a:pt x="8461873" y="3161219"/>
                </a:moveTo>
                <a:lnTo>
                  <a:pt x="8478960" y="3162829"/>
                </a:lnTo>
                <a:cubicBezTo>
                  <a:pt x="8511346" y="3163352"/>
                  <a:pt x="8543239" y="3166310"/>
                  <a:pt x="8574422" y="3171823"/>
                </a:cubicBezTo>
                <a:cubicBezTo>
                  <a:pt x="8579998" y="3171407"/>
                  <a:pt x="8585326" y="3172348"/>
                  <a:pt x="8590635" y="3173350"/>
                </a:cubicBezTo>
                <a:lnTo>
                  <a:pt x="8590752" y="3174489"/>
                </a:lnTo>
                <a:cubicBezTo>
                  <a:pt x="8815033" y="3211322"/>
                  <a:pt x="9008920" y="3333951"/>
                  <a:pt x="9135069" y="3506215"/>
                </a:cubicBezTo>
                <a:lnTo>
                  <a:pt x="9139239" y="3512974"/>
                </a:lnTo>
                <a:lnTo>
                  <a:pt x="9139239" y="3816134"/>
                </a:lnTo>
                <a:lnTo>
                  <a:pt x="9120077" y="3747490"/>
                </a:lnTo>
                <a:cubicBezTo>
                  <a:pt x="9039502" y="3525837"/>
                  <a:pt x="8844913" y="3356256"/>
                  <a:pt x="8604122" y="3304913"/>
                </a:cubicBezTo>
                <a:cubicBezTo>
                  <a:pt x="8650738" y="3540094"/>
                  <a:pt x="8821055" y="3732654"/>
                  <a:pt x="9047261" y="3816429"/>
                </a:cubicBezTo>
                <a:lnTo>
                  <a:pt x="9139239" y="3843104"/>
                </a:lnTo>
                <a:lnTo>
                  <a:pt x="9139239" y="3970603"/>
                </a:lnTo>
                <a:lnTo>
                  <a:pt x="9030179" y="3943797"/>
                </a:lnTo>
                <a:cubicBezTo>
                  <a:pt x="8735297" y="3846211"/>
                  <a:pt x="8514628" y="3594637"/>
                  <a:pt x="8470637" y="3288305"/>
                </a:cubicBezTo>
                <a:cubicBezTo>
                  <a:pt x="8470469" y="3288253"/>
                  <a:pt x="8470301" y="3288248"/>
                  <a:pt x="8470131" y="3288243"/>
                </a:cubicBezTo>
                <a:lnTo>
                  <a:pt x="8469593" y="3281619"/>
                </a:lnTo>
                <a:cubicBezTo>
                  <a:pt x="8464534" y="3251607"/>
                  <a:pt x="8462083" y="3220958"/>
                  <a:pt x="8462126" y="3189869"/>
                </a:cubicBezTo>
                <a:cubicBezTo>
                  <a:pt x="8460814" y="3184286"/>
                  <a:pt x="8460755" y="3178663"/>
                  <a:pt x="8460755" y="3173027"/>
                </a:cubicBezTo>
                <a:lnTo>
                  <a:pt x="8461349" y="3161677"/>
                </a:lnTo>
                <a:lnTo>
                  <a:pt x="8461847" y="3161709"/>
                </a:lnTo>
                <a:close/>
                <a:moveTo>
                  <a:pt x="8448085" y="3161219"/>
                </a:moveTo>
                <a:lnTo>
                  <a:pt x="8448111" y="3161709"/>
                </a:lnTo>
                <a:lnTo>
                  <a:pt x="8448609" y="3161677"/>
                </a:lnTo>
                <a:lnTo>
                  <a:pt x="8449203" y="3173027"/>
                </a:lnTo>
                <a:cubicBezTo>
                  <a:pt x="8449203" y="3178663"/>
                  <a:pt x="8449144" y="3184286"/>
                  <a:pt x="8447832" y="3189869"/>
                </a:cubicBezTo>
                <a:cubicBezTo>
                  <a:pt x="8447875" y="3220958"/>
                  <a:pt x="8445424" y="3251607"/>
                  <a:pt x="8440365" y="3281619"/>
                </a:cubicBezTo>
                <a:lnTo>
                  <a:pt x="8439827" y="3288243"/>
                </a:lnTo>
                <a:cubicBezTo>
                  <a:pt x="8439657" y="3288248"/>
                  <a:pt x="8439489" y="3288253"/>
                  <a:pt x="8439321" y="3288305"/>
                </a:cubicBezTo>
                <a:cubicBezTo>
                  <a:pt x="8389046" y="3638399"/>
                  <a:pt x="8108007" y="3916971"/>
                  <a:pt x="7749156" y="3975903"/>
                </a:cubicBezTo>
                <a:lnTo>
                  <a:pt x="7749040" y="3977042"/>
                </a:lnTo>
                <a:cubicBezTo>
                  <a:pt x="7743729" y="3978045"/>
                  <a:pt x="7738400" y="3978986"/>
                  <a:pt x="7732823" y="3978570"/>
                </a:cubicBezTo>
                <a:cubicBezTo>
                  <a:pt x="7701651" y="3984080"/>
                  <a:pt x="7669771" y="3987038"/>
                  <a:pt x="7637396" y="3987561"/>
                </a:cubicBezTo>
                <a:lnTo>
                  <a:pt x="7620278" y="3989174"/>
                </a:lnTo>
                <a:lnTo>
                  <a:pt x="7620252" y="3988683"/>
                </a:lnTo>
                <a:lnTo>
                  <a:pt x="7619753" y="3988716"/>
                </a:lnTo>
                <a:cubicBezTo>
                  <a:pt x="7619187" y="3984944"/>
                  <a:pt x="7619160" y="3981158"/>
                  <a:pt x="7619160" y="3977366"/>
                </a:cubicBezTo>
                <a:cubicBezTo>
                  <a:pt x="7619160" y="3971728"/>
                  <a:pt x="7619219" y="3966104"/>
                  <a:pt x="7620531" y="3960518"/>
                </a:cubicBezTo>
                <a:cubicBezTo>
                  <a:pt x="7620488" y="3929436"/>
                  <a:pt x="7622938" y="3898794"/>
                  <a:pt x="7627995" y="3868787"/>
                </a:cubicBezTo>
                <a:lnTo>
                  <a:pt x="7628535" y="3862150"/>
                </a:lnTo>
                <a:cubicBezTo>
                  <a:pt x="7628704" y="3862145"/>
                  <a:pt x="7628873" y="3862140"/>
                  <a:pt x="7629040" y="3862087"/>
                </a:cubicBezTo>
                <a:cubicBezTo>
                  <a:pt x="7679317" y="3511992"/>
                  <a:pt x="7960356" y="3233421"/>
                  <a:pt x="8319206" y="3174489"/>
                </a:cubicBezTo>
                <a:lnTo>
                  <a:pt x="8319323" y="3173350"/>
                </a:lnTo>
                <a:cubicBezTo>
                  <a:pt x="8324632" y="3172348"/>
                  <a:pt x="8329960" y="3171407"/>
                  <a:pt x="8335536" y="3171823"/>
                </a:cubicBezTo>
                <a:cubicBezTo>
                  <a:pt x="8366719" y="3166310"/>
                  <a:pt x="8398612" y="3163352"/>
                  <a:pt x="8430998" y="3162829"/>
                </a:cubicBezTo>
                <a:close/>
                <a:moveTo>
                  <a:pt x="6769722" y="3161219"/>
                </a:moveTo>
                <a:lnTo>
                  <a:pt x="6786810" y="3162829"/>
                </a:lnTo>
                <a:cubicBezTo>
                  <a:pt x="6819195" y="3163352"/>
                  <a:pt x="6851088" y="3166310"/>
                  <a:pt x="6882271" y="3171823"/>
                </a:cubicBezTo>
                <a:cubicBezTo>
                  <a:pt x="6887847" y="3171407"/>
                  <a:pt x="6893175" y="3172348"/>
                  <a:pt x="6898484" y="3173350"/>
                </a:cubicBezTo>
                <a:lnTo>
                  <a:pt x="6898601" y="3174489"/>
                </a:lnTo>
                <a:cubicBezTo>
                  <a:pt x="7257451" y="3233421"/>
                  <a:pt x="7538490" y="3511992"/>
                  <a:pt x="7588766" y="3862087"/>
                </a:cubicBezTo>
                <a:cubicBezTo>
                  <a:pt x="7588934" y="3862140"/>
                  <a:pt x="7589103" y="3862145"/>
                  <a:pt x="7589272" y="3862150"/>
                </a:cubicBezTo>
                <a:lnTo>
                  <a:pt x="7589812" y="3868787"/>
                </a:lnTo>
                <a:cubicBezTo>
                  <a:pt x="7594869" y="3898794"/>
                  <a:pt x="7597319" y="3929436"/>
                  <a:pt x="7597276" y="3960518"/>
                </a:cubicBezTo>
                <a:cubicBezTo>
                  <a:pt x="7598588" y="3966104"/>
                  <a:pt x="7598647" y="3971728"/>
                  <a:pt x="7598647" y="3977366"/>
                </a:cubicBezTo>
                <a:cubicBezTo>
                  <a:pt x="7598647" y="3981158"/>
                  <a:pt x="7598620" y="3984944"/>
                  <a:pt x="7598054" y="3988716"/>
                </a:cubicBezTo>
                <a:lnTo>
                  <a:pt x="7597555" y="3988683"/>
                </a:lnTo>
                <a:lnTo>
                  <a:pt x="7597529" y="3989174"/>
                </a:lnTo>
                <a:lnTo>
                  <a:pt x="7580411" y="3987561"/>
                </a:lnTo>
                <a:cubicBezTo>
                  <a:pt x="7548036" y="3987038"/>
                  <a:pt x="7516156" y="3984080"/>
                  <a:pt x="7484984" y="3978570"/>
                </a:cubicBezTo>
                <a:cubicBezTo>
                  <a:pt x="7479407" y="3978986"/>
                  <a:pt x="7474078" y="3978045"/>
                  <a:pt x="7468767" y="3977042"/>
                </a:cubicBezTo>
                <a:lnTo>
                  <a:pt x="7468651" y="3975903"/>
                </a:lnTo>
                <a:cubicBezTo>
                  <a:pt x="7109800" y="3916971"/>
                  <a:pt x="6828761" y="3638399"/>
                  <a:pt x="6778486" y="3288305"/>
                </a:cubicBezTo>
                <a:cubicBezTo>
                  <a:pt x="6778318" y="3288253"/>
                  <a:pt x="6778150" y="3288248"/>
                  <a:pt x="6777980" y="3288243"/>
                </a:cubicBezTo>
                <a:lnTo>
                  <a:pt x="6777442" y="3281619"/>
                </a:lnTo>
                <a:cubicBezTo>
                  <a:pt x="6772383" y="3251607"/>
                  <a:pt x="6769933" y="3220958"/>
                  <a:pt x="6769975" y="3189869"/>
                </a:cubicBezTo>
                <a:cubicBezTo>
                  <a:pt x="6768663" y="3184286"/>
                  <a:pt x="6768604" y="3178663"/>
                  <a:pt x="6768604" y="3173027"/>
                </a:cubicBezTo>
                <a:lnTo>
                  <a:pt x="6769198" y="3161677"/>
                </a:lnTo>
                <a:lnTo>
                  <a:pt x="6769696" y="3161709"/>
                </a:lnTo>
                <a:close/>
                <a:moveTo>
                  <a:pt x="6755934" y="3161219"/>
                </a:moveTo>
                <a:lnTo>
                  <a:pt x="6755960" y="3161709"/>
                </a:lnTo>
                <a:lnTo>
                  <a:pt x="6756458" y="3161677"/>
                </a:lnTo>
                <a:lnTo>
                  <a:pt x="6757052" y="3173027"/>
                </a:lnTo>
                <a:cubicBezTo>
                  <a:pt x="6757052" y="3178663"/>
                  <a:pt x="6756994" y="3184286"/>
                  <a:pt x="6755682" y="3189869"/>
                </a:cubicBezTo>
                <a:cubicBezTo>
                  <a:pt x="6755724" y="3220958"/>
                  <a:pt x="6753273" y="3251607"/>
                  <a:pt x="6748215" y="3281619"/>
                </a:cubicBezTo>
                <a:lnTo>
                  <a:pt x="6747676" y="3288243"/>
                </a:lnTo>
                <a:cubicBezTo>
                  <a:pt x="6747507" y="3288248"/>
                  <a:pt x="6747338" y="3288253"/>
                  <a:pt x="6747171" y="3288305"/>
                </a:cubicBezTo>
                <a:cubicBezTo>
                  <a:pt x="6696895" y="3638399"/>
                  <a:pt x="6415856" y="3916971"/>
                  <a:pt x="6057005" y="3975903"/>
                </a:cubicBezTo>
                <a:lnTo>
                  <a:pt x="6056889" y="3977042"/>
                </a:lnTo>
                <a:cubicBezTo>
                  <a:pt x="6051578" y="3978045"/>
                  <a:pt x="6046249" y="3978986"/>
                  <a:pt x="6040672" y="3978570"/>
                </a:cubicBezTo>
                <a:cubicBezTo>
                  <a:pt x="6009500" y="3984080"/>
                  <a:pt x="5977620" y="3987038"/>
                  <a:pt x="5945246" y="3987561"/>
                </a:cubicBezTo>
                <a:lnTo>
                  <a:pt x="5928127" y="3989174"/>
                </a:lnTo>
                <a:lnTo>
                  <a:pt x="5928101" y="3988683"/>
                </a:lnTo>
                <a:lnTo>
                  <a:pt x="5927602" y="3988716"/>
                </a:lnTo>
                <a:cubicBezTo>
                  <a:pt x="5927036" y="3984944"/>
                  <a:pt x="5927009" y="3981158"/>
                  <a:pt x="5927009" y="3977366"/>
                </a:cubicBezTo>
                <a:cubicBezTo>
                  <a:pt x="5927009" y="3971728"/>
                  <a:pt x="5927068" y="3966104"/>
                  <a:pt x="5928380" y="3960518"/>
                </a:cubicBezTo>
                <a:cubicBezTo>
                  <a:pt x="5928338" y="3929436"/>
                  <a:pt x="5930787" y="3898794"/>
                  <a:pt x="5935844" y="3868787"/>
                </a:cubicBezTo>
                <a:lnTo>
                  <a:pt x="5936384" y="3862150"/>
                </a:lnTo>
                <a:cubicBezTo>
                  <a:pt x="5936553" y="3862145"/>
                  <a:pt x="5936722" y="3862140"/>
                  <a:pt x="5936890" y="3862087"/>
                </a:cubicBezTo>
                <a:cubicBezTo>
                  <a:pt x="5987166" y="3511992"/>
                  <a:pt x="6268205" y="3233421"/>
                  <a:pt x="6627056" y="3174489"/>
                </a:cubicBezTo>
                <a:lnTo>
                  <a:pt x="6627173" y="3173350"/>
                </a:lnTo>
                <a:cubicBezTo>
                  <a:pt x="6632481" y="3172348"/>
                  <a:pt x="6637809" y="3171407"/>
                  <a:pt x="6643385" y="3171823"/>
                </a:cubicBezTo>
                <a:cubicBezTo>
                  <a:pt x="6674569" y="3166310"/>
                  <a:pt x="6706461" y="3163352"/>
                  <a:pt x="6738847" y="3162829"/>
                </a:cubicBezTo>
                <a:close/>
                <a:moveTo>
                  <a:pt x="5077571" y="3161219"/>
                </a:moveTo>
                <a:lnTo>
                  <a:pt x="5094659" y="3162829"/>
                </a:lnTo>
                <a:cubicBezTo>
                  <a:pt x="5127044" y="3163352"/>
                  <a:pt x="5158937" y="3166310"/>
                  <a:pt x="5190120" y="3171823"/>
                </a:cubicBezTo>
                <a:cubicBezTo>
                  <a:pt x="5195696" y="3171407"/>
                  <a:pt x="5201024" y="3172348"/>
                  <a:pt x="5206334" y="3173350"/>
                </a:cubicBezTo>
                <a:lnTo>
                  <a:pt x="5206450" y="3174489"/>
                </a:lnTo>
                <a:cubicBezTo>
                  <a:pt x="5565300" y="3233421"/>
                  <a:pt x="5846339" y="3511992"/>
                  <a:pt x="5896616" y="3862087"/>
                </a:cubicBezTo>
                <a:cubicBezTo>
                  <a:pt x="5896783" y="3862140"/>
                  <a:pt x="5896953" y="3862145"/>
                  <a:pt x="5897121" y="3862150"/>
                </a:cubicBezTo>
                <a:lnTo>
                  <a:pt x="5897662" y="3868787"/>
                </a:lnTo>
                <a:cubicBezTo>
                  <a:pt x="5902718" y="3898794"/>
                  <a:pt x="5905168" y="3929436"/>
                  <a:pt x="5905126" y="3960518"/>
                </a:cubicBezTo>
                <a:cubicBezTo>
                  <a:pt x="5906438" y="3966104"/>
                  <a:pt x="5906496" y="3971728"/>
                  <a:pt x="5906496" y="3977366"/>
                </a:cubicBezTo>
                <a:cubicBezTo>
                  <a:pt x="5906496" y="3981158"/>
                  <a:pt x="5906469" y="3984944"/>
                  <a:pt x="5905903" y="3988716"/>
                </a:cubicBezTo>
                <a:lnTo>
                  <a:pt x="5905404" y="3988683"/>
                </a:lnTo>
                <a:lnTo>
                  <a:pt x="5905378" y="3989174"/>
                </a:lnTo>
                <a:lnTo>
                  <a:pt x="5888260" y="3987561"/>
                </a:lnTo>
                <a:cubicBezTo>
                  <a:pt x="5855886" y="3987038"/>
                  <a:pt x="5824005" y="3984080"/>
                  <a:pt x="5792833" y="3978570"/>
                </a:cubicBezTo>
                <a:cubicBezTo>
                  <a:pt x="5787256" y="3978986"/>
                  <a:pt x="5781927" y="3978045"/>
                  <a:pt x="5776617" y="3977042"/>
                </a:cubicBezTo>
                <a:lnTo>
                  <a:pt x="5776501" y="3975903"/>
                </a:lnTo>
                <a:cubicBezTo>
                  <a:pt x="5417649" y="3916971"/>
                  <a:pt x="5136610" y="3638399"/>
                  <a:pt x="5086335" y="3288305"/>
                </a:cubicBezTo>
                <a:cubicBezTo>
                  <a:pt x="5086167" y="3288253"/>
                  <a:pt x="5085999" y="3288248"/>
                  <a:pt x="5085830" y="3288243"/>
                </a:cubicBezTo>
                <a:lnTo>
                  <a:pt x="5085291" y="3281619"/>
                </a:lnTo>
                <a:cubicBezTo>
                  <a:pt x="5080233" y="3251607"/>
                  <a:pt x="5077782" y="3220958"/>
                  <a:pt x="5077824" y="3189869"/>
                </a:cubicBezTo>
                <a:cubicBezTo>
                  <a:pt x="5076512" y="3184286"/>
                  <a:pt x="5076453" y="3178663"/>
                  <a:pt x="5076453" y="3173027"/>
                </a:cubicBezTo>
                <a:lnTo>
                  <a:pt x="5077047" y="3161677"/>
                </a:lnTo>
                <a:lnTo>
                  <a:pt x="5077545" y="3161709"/>
                </a:lnTo>
                <a:close/>
                <a:moveTo>
                  <a:pt x="5063783" y="3161219"/>
                </a:moveTo>
                <a:lnTo>
                  <a:pt x="5063809" y="3161709"/>
                </a:lnTo>
                <a:lnTo>
                  <a:pt x="5064307" y="3161677"/>
                </a:lnTo>
                <a:lnTo>
                  <a:pt x="5064902" y="3173027"/>
                </a:lnTo>
                <a:cubicBezTo>
                  <a:pt x="5064902" y="3178663"/>
                  <a:pt x="5064842" y="3184286"/>
                  <a:pt x="5063530" y="3189869"/>
                </a:cubicBezTo>
                <a:cubicBezTo>
                  <a:pt x="5063572" y="3220958"/>
                  <a:pt x="5061122" y="3251607"/>
                  <a:pt x="5056063" y="3281619"/>
                </a:cubicBezTo>
                <a:lnTo>
                  <a:pt x="5055525" y="3288243"/>
                </a:lnTo>
                <a:cubicBezTo>
                  <a:pt x="5055355" y="3288248"/>
                  <a:pt x="5055187" y="3288253"/>
                  <a:pt x="5055019" y="3288305"/>
                </a:cubicBezTo>
                <a:cubicBezTo>
                  <a:pt x="5004744" y="3638399"/>
                  <a:pt x="4723705" y="3916971"/>
                  <a:pt x="4364853" y="3975903"/>
                </a:cubicBezTo>
                <a:lnTo>
                  <a:pt x="4364737" y="3977042"/>
                </a:lnTo>
                <a:cubicBezTo>
                  <a:pt x="4359427" y="3978045"/>
                  <a:pt x="4354098" y="3978986"/>
                  <a:pt x="4348521" y="3978570"/>
                </a:cubicBezTo>
                <a:cubicBezTo>
                  <a:pt x="4317350" y="3984080"/>
                  <a:pt x="4285468" y="3987038"/>
                  <a:pt x="4253094" y="3987561"/>
                </a:cubicBezTo>
                <a:lnTo>
                  <a:pt x="4235976" y="3989174"/>
                </a:lnTo>
                <a:lnTo>
                  <a:pt x="4235950" y="3988683"/>
                </a:lnTo>
                <a:lnTo>
                  <a:pt x="4235451" y="3988716"/>
                </a:lnTo>
                <a:cubicBezTo>
                  <a:pt x="4234885" y="3984944"/>
                  <a:pt x="4234858" y="3981158"/>
                  <a:pt x="4234858" y="3977366"/>
                </a:cubicBezTo>
                <a:cubicBezTo>
                  <a:pt x="4234858" y="3971728"/>
                  <a:pt x="4234916" y="3966104"/>
                  <a:pt x="4236228" y="3960518"/>
                </a:cubicBezTo>
                <a:cubicBezTo>
                  <a:pt x="4236186" y="3929436"/>
                  <a:pt x="4238636" y="3898794"/>
                  <a:pt x="4243692" y="3868787"/>
                </a:cubicBezTo>
                <a:lnTo>
                  <a:pt x="4244233" y="3862150"/>
                </a:lnTo>
                <a:cubicBezTo>
                  <a:pt x="4244401" y="3862145"/>
                  <a:pt x="4244571" y="3862140"/>
                  <a:pt x="4244738" y="3862087"/>
                </a:cubicBezTo>
                <a:cubicBezTo>
                  <a:pt x="4295015" y="3511992"/>
                  <a:pt x="4576054" y="3233421"/>
                  <a:pt x="4934904" y="3174489"/>
                </a:cubicBezTo>
                <a:lnTo>
                  <a:pt x="4935021" y="3173350"/>
                </a:lnTo>
                <a:cubicBezTo>
                  <a:pt x="4940330" y="3172348"/>
                  <a:pt x="4945658" y="3171407"/>
                  <a:pt x="4951234" y="3171823"/>
                </a:cubicBezTo>
                <a:cubicBezTo>
                  <a:pt x="4982417" y="3166310"/>
                  <a:pt x="5014310" y="3163352"/>
                  <a:pt x="5046695" y="3162829"/>
                </a:cubicBezTo>
                <a:close/>
                <a:moveTo>
                  <a:pt x="3385420" y="3161219"/>
                </a:moveTo>
                <a:lnTo>
                  <a:pt x="3402507" y="3162829"/>
                </a:lnTo>
                <a:cubicBezTo>
                  <a:pt x="3434893" y="3163352"/>
                  <a:pt x="3466785" y="3166310"/>
                  <a:pt x="3497969" y="3171823"/>
                </a:cubicBezTo>
                <a:cubicBezTo>
                  <a:pt x="3503545" y="3171407"/>
                  <a:pt x="3508873" y="3172348"/>
                  <a:pt x="3514181" y="3173350"/>
                </a:cubicBezTo>
                <a:lnTo>
                  <a:pt x="3514298" y="3174489"/>
                </a:lnTo>
                <a:cubicBezTo>
                  <a:pt x="3873149" y="3233421"/>
                  <a:pt x="4154188" y="3511992"/>
                  <a:pt x="4204464" y="3862087"/>
                </a:cubicBezTo>
                <a:cubicBezTo>
                  <a:pt x="4204632" y="3862140"/>
                  <a:pt x="4204801" y="3862145"/>
                  <a:pt x="4204970" y="3862150"/>
                </a:cubicBezTo>
                <a:lnTo>
                  <a:pt x="4205510" y="3868787"/>
                </a:lnTo>
                <a:cubicBezTo>
                  <a:pt x="4210567" y="3898794"/>
                  <a:pt x="4213016" y="3929436"/>
                  <a:pt x="4212974" y="3960518"/>
                </a:cubicBezTo>
                <a:cubicBezTo>
                  <a:pt x="4214286" y="3966104"/>
                  <a:pt x="4214345" y="3971728"/>
                  <a:pt x="4214345" y="3977366"/>
                </a:cubicBezTo>
                <a:cubicBezTo>
                  <a:pt x="4214345" y="3981158"/>
                  <a:pt x="4214318" y="3984944"/>
                  <a:pt x="4213752" y="3988716"/>
                </a:cubicBezTo>
                <a:lnTo>
                  <a:pt x="4213253" y="3988683"/>
                </a:lnTo>
                <a:lnTo>
                  <a:pt x="4213227" y="3989174"/>
                </a:lnTo>
                <a:lnTo>
                  <a:pt x="4196108" y="3987561"/>
                </a:lnTo>
                <a:cubicBezTo>
                  <a:pt x="4163734" y="3987038"/>
                  <a:pt x="4131854" y="3984080"/>
                  <a:pt x="4100682" y="3978570"/>
                </a:cubicBezTo>
                <a:cubicBezTo>
                  <a:pt x="4095105" y="3978986"/>
                  <a:pt x="4089776" y="3978045"/>
                  <a:pt x="4084465" y="3977042"/>
                </a:cubicBezTo>
                <a:lnTo>
                  <a:pt x="4084349" y="3975903"/>
                </a:lnTo>
                <a:cubicBezTo>
                  <a:pt x="3725498" y="3916971"/>
                  <a:pt x="3444459" y="3638399"/>
                  <a:pt x="3394183" y="3288305"/>
                </a:cubicBezTo>
                <a:cubicBezTo>
                  <a:pt x="3394016" y="3288253"/>
                  <a:pt x="3393847" y="3288248"/>
                  <a:pt x="3393678" y="3288243"/>
                </a:cubicBezTo>
                <a:lnTo>
                  <a:pt x="3393139" y="3281619"/>
                </a:lnTo>
                <a:cubicBezTo>
                  <a:pt x="3388081" y="3251607"/>
                  <a:pt x="3385630" y="3220958"/>
                  <a:pt x="3385672" y="3189869"/>
                </a:cubicBezTo>
                <a:cubicBezTo>
                  <a:pt x="3384360" y="3184286"/>
                  <a:pt x="3384302" y="3178663"/>
                  <a:pt x="3384302" y="3173027"/>
                </a:cubicBezTo>
                <a:lnTo>
                  <a:pt x="3384896" y="3161677"/>
                </a:lnTo>
                <a:lnTo>
                  <a:pt x="3385394" y="3161709"/>
                </a:lnTo>
                <a:close/>
                <a:moveTo>
                  <a:pt x="3371632" y="3161219"/>
                </a:moveTo>
                <a:lnTo>
                  <a:pt x="3371658" y="3161709"/>
                </a:lnTo>
                <a:lnTo>
                  <a:pt x="3372156" y="3161677"/>
                </a:lnTo>
                <a:lnTo>
                  <a:pt x="3372750" y="3173027"/>
                </a:lnTo>
                <a:cubicBezTo>
                  <a:pt x="3372750" y="3178663"/>
                  <a:pt x="3372691" y="3184286"/>
                  <a:pt x="3371379" y="3189869"/>
                </a:cubicBezTo>
                <a:cubicBezTo>
                  <a:pt x="3371421" y="3220958"/>
                  <a:pt x="3368971" y="3251607"/>
                  <a:pt x="3363912" y="3281619"/>
                </a:cubicBezTo>
                <a:lnTo>
                  <a:pt x="3363374" y="3288243"/>
                </a:lnTo>
                <a:cubicBezTo>
                  <a:pt x="3363204" y="3288248"/>
                  <a:pt x="3363036" y="3288253"/>
                  <a:pt x="3362868" y="3288305"/>
                </a:cubicBezTo>
                <a:cubicBezTo>
                  <a:pt x="3312593" y="3638399"/>
                  <a:pt x="3031554" y="3916971"/>
                  <a:pt x="2672703" y="3975903"/>
                </a:cubicBezTo>
                <a:lnTo>
                  <a:pt x="2672586" y="3977042"/>
                </a:lnTo>
                <a:cubicBezTo>
                  <a:pt x="2667276" y="3978045"/>
                  <a:pt x="2661947" y="3978986"/>
                  <a:pt x="2656370" y="3978570"/>
                </a:cubicBezTo>
                <a:cubicBezTo>
                  <a:pt x="2625198" y="3984080"/>
                  <a:pt x="2593318" y="3987038"/>
                  <a:pt x="2560943" y="3987561"/>
                </a:cubicBezTo>
                <a:lnTo>
                  <a:pt x="2543825" y="3989174"/>
                </a:lnTo>
                <a:lnTo>
                  <a:pt x="2543799" y="3988683"/>
                </a:lnTo>
                <a:lnTo>
                  <a:pt x="2543300" y="3988716"/>
                </a:lnTo>
                <a:cubicBezTo>
                  <a:pt x="2542734" y="3984944"/>
                  <a:pt x="2542707" y="3981158"/>
                  <a:pt x="2542707" y="3977366"/>
                </a:cubicBezTo>
                <a:cubicBezTo>
                  <a:pt x="2542707" y="3971728"/>
                  <a:pt x="2542765" y="3966104"/>
                  <a:pt x="2544077" y="3960518"/>
                </a:cubicBezTo>
                <a:cubicBezTo>
                  <a:pt x="2544035" y="3929436"/>
                  <a:pt x="2546485" y="3898794"/>
                  <a:pt x="2551541" y="3868787"/>
                </a:cubicBezTo>
                <a:lnTo>
                  <a:pt x="2552082" y="3862150"/>
                </a:lnTo>
                <a:cubicBezTo>
                  <a:pt x="2552250" y="3862145"/>
                  <a:pt x="2552420" y="3862140"/>
                  <a:pt x="2552587" y="3862087"/>
                </a:cubicBezTo>
                <a:cubicBezTo>
                  <a:pt x="2602864" y="3511992"/>
                  <a:pt x="2883903" y="3233421"/>
                  <a:pt x="3242753" y="3174489"/>
                </a:cubicBezTo>
                <a:lnTo>
                  <a:pt x="3242870" y="3173350"/>
                </a:lnTo>
                <a:cubicBezTo>
                  <a:pt x="3248179" y="3172348"/>
                  <a:pt x="3253507" y="3171407"/>
                  <a:pt x="3259083" y="3171823"/>
                </a:cubicBezTo>
                <a:cubicBezTo>
                  <a:pt x="3290266" y="3166310"/>
                  <a:pt x="3322159" y="3163352"/>
                  <a:pt x="3354544" y="3162829"/>
                </a:cubicBezTo>
                <a:close/>
                <a:moveTo>
                  <a:pt x="1693269" y="3161219"/>
                </a:moveTo>
                <a:lnTo>
                  <a:pt x="1710356" y="3162829"/>
                </a:lnTo>
                <a:cubicBezTo>
                  <a:pt x="1742742" y="3163352"/>
                  <a:pt x="1774634" y="3166310"/>
                  <a:pt x="1805818" y="3171823"/>
                </a:cubicBezTo>
                <a:cubicBezTo>
                  <a:pt x="1811394" y="3171407"/>
                  <a:pt x="1816722" y="3172348"/>
                  <a:pt x="1822030" y="3173350"/>
                </a:cubicBezTo>
                <a:lnTo>
                  <a:pt x="1822148" y="3174489"/>
                </a:lnTo>
                <a:cubicBezTo>
                  <a:pt x="2180998" y="3233421"/>
                  <a:pt x="2462037" y="3511992"/>
                  <a:pt x="2512313" y="3862087"/>
                </a:cubicBezTo>
                <a:cubicBezTo>
                  <a:pt x="2512481" y="3862140"/>
                  <a:pt x="2512650" y="3862145"/>
                  <a:pt x="2512819" y="3862150"/>
                </a:cubicBezTo>
                <a:lnTo>
                  <a:pt x="2513359" y="3868787"/>
                </a:lnTo>
                <a:cubicBezTo>
                  <a:pt x="2518416" y="3898794"/>
                  <a:pt x="2520865" y="3929436"/>
                  <a:pt x="2520823" y="3960518"/>
                </a:cubicBezTo>
                <a:cubicBezTo>
                  <a:pt x="2522135" y="3966104"/>
                  <a:pt x="2522194" y="3971728"/>
                  <a:pt x="2522194" y="3977366"/>
                </a:cubicBezTo>
                <a:cubicBezTo>
                  <a:pt x="2522194" y="3981158"/>
                  <a:pt x="2522167" y="3984944"/>
                  <a:pt x="2521601" y="3988716"/>
                </a:cubicBezTo>
                <a:lnTo>
                  <a:pt x="2521102" y="3988683"/>
                </a:lnTo>
                <a:lnTo>
                  <a:pt x="2521076" y="3989174"/>
                </a:lnTo>
                <a:lnTo>
                  <a:pt x="2503957" y="3987561"/>
                </a:lnTo>
                <a:cubicBezTo>
                  <a:pt x="2471583" y="3987038"/>
                  <a:pt x="2439703" y="3984080"/>
                  <a:pt x="2408531" y="3978570"/>
                </a:cubicBezTo>
                <a:cubicBezTo>
                  <a:pt x="2402954" y="3978986"/>
                  <a:pt x="2397625" y="3978045"/>
                  <a:pt x="2392314" y="3977042"/>
                </a:cubicBezTo>
                <a:lnTo>
                  <a:pt x="2392198" y="3975903"/>
                </a:lnTo>
                <a:cubicBezTo>
                  <a:pt x="2033347" y="3916971"/>
                  <a:pt x="1752308" y="3638399"/>
                  <a:pt x="1702032" y="3288305"/>
                </a:cubicBezTo>
                <a:cubicBezTo>
                  <a:pt x="1701865" y="3288253"/>
                  <a:pt x="1701696" y="3288248"/>
                  <a:pt x="1701527" y="3288243"/>
                </a:cubicBezTo>
                <a:lnTo>
                  <a:pt x="1700989" y="3281619"/>
                </a:lnTo>
                <a:cubicBezTo>
                  <a:pt x="1695930" y="3251607"/>
                  <a:pt x="1693479" y="3220958"/>
                  <a:pt x="1693521" y="3189869"/>
                </a:cubicBezTo>
                <a:cubicBezTo>
                  <a:pt x="1692209" y="3184286"/>
                  <a:pt x="1692151" y="3178663"/>
                  <a:pt x="1692151" y="3173027"/>
                </a:cubicBezTo>
                <a:lnTo>
                  <a:pt x="1692745" y="3161677"/>
                </a:lnTo>
                <a:lnTo>
                  <a:pt x="1693243" y="3161709"/>
                </a:lnTo>
                <a:close/>
                <a:moveTo>
                  <a:pt x="1679481" y="3161219"/>
                </a:moveTo>
                <a:lnTo>
                  <a:pt x="1679507" y="3161709"/>
                </a:lnTo>
                <a:lnTo>
                  <a:pt x="1680005" y="3161677"/>
                </a:lnTo>
                <a:lnTo>
                  <a:pt x="1680599" y="3173027"/>
                </a:lnTo>
                <a:cubicBezTo>
                  <a:pt x="1680599" y="3178663"/>
                  <a:pt x="1680540" y="3184286"/>
                  <a:pt x="1679228" y="3189869"/>
                </a:cubicBezTo>
                <a:cubicBezTo>
                  <a:pt x="1679270" y="3220958"/>
                  <a:pt x="1676820" y="3251607"/>
                  <a:pt x="1671761" y="3281619"/>
                </a:cubicBezTo>
                <a:lnTo>
                  <a:pt x="1671223" y="3288243"/>
                </a:lnTo>
                <a:cubicBezTo>
                  <a:pt x="1671053" y="3288248"/>
                  <a:pt x="1670885" y="3288253"/>
                  <a:pt x="1670717" y="3288305"/>
                </a:cubicBezTo>
                <a:cubicBezTo>
                  <a:pt x="1620442" y="3638399"/>
                  <a:pt x="1339403" y="3916971"/>
                  <a:pt x="980552" y="3975903"/>
                </a:cubicBezTo>
                <a:lnTo>
                  <a:pt x="980435" y="3977042"/>
                </a:lnTo>
                <a:cubicBezTo>
                  <a:pt x="975125" y="3978045"/>
                  <a:pt x="969796" y="3978986"/>
                  <a:pt x="964219" y="3978570"/>
                </a:cubicBezTo>
                <a:cubicBezTo>
                  <a:pt x="933047" y="3984080"/>
                  <a:pt x="901167" y="3987038"/>
                  <a:pt x="868792" y="3987561"/>
                </a:cubicBezTo>
                <a:lnTo>
                  <a:pt x="851674" y="3989174"/>
                </a:lnTo>
                <a:lnTo>
                  <a:pt x="851648" y="3988683"/>
                </a:lnTo>
                <a:lnTo>
                  <a:pt x="851149" y="3988716"/>
                </a:lnTo>
                <a:cubicBezTo>
                  <a:pt x="850583" y="3984944"/>
                  <a:pt x="850556" y="3981158"/>
                  <a:pt x="850556" y="3977366"/>
                </a:cubicBezTo>
                <a:cubicBezTo>
                  <a:pt x="850556" y="3971728"/>
                  <a:pt x="850614" y="3966104"/>
                  <a:pt x="851926" y="3960518"/>
                </a:cubicBezTo>
                <a:cubicBezTo>
                  <a:pt x="851884" y="3929436"/>
                  <a:pt x="854334" y="3898794"/>
                  <a:pt x="859390" y="3868787"/>
                </a:cubicBezTo>
                <a:lnTo>
                  <a:pt x="859931" y="3862150"/>
                </a:lnTo>
                <a:cubicBezTo>
                  <a:pt x="860099" y="3862145"/>
                  <a:pt x="860269" y="3862140"/>
                  <a:pt x="860436" y="3862087"/>
                </a:cubicBezTo>
                <a:cubicBezTo>
                  <a:pt x="910713" y="3511992"/>
                  <a:pt x="1191752" y="3233421"/>
                  <a:pt x="1550602" y="3174489"/>
                </a:cubicBezTo>
                <a:lnTo>
                  <a:pt x="1550719" y="3173350"/>
                </a:lnTo>
                <a:cubicBezTo>
                  <a:pt x="1556028" y="3172348"/>
                  <a:pt x="1561356" y="3171407"/>
                  <a:pt x="1566932" y="3171823"/>
                </a:cubicBezTo>
                <a:cubicBezTo>
                  <a:pt x="1598115" y="3166310"/>
                  <a:pt x="1630008" y="3163352"/>
                  <a:pt x="1662393" y="3162829"/>
                </a:cubicBezTo>
                <a:close/>
                <a:moveTo>
                  <a:pt x="1118" y="3161219"/>
                </a:moveTo>
                <a:lnTo>
                  <a:pt x="18205" y="3162829"/>
                </a:lnTo>
                <a:cubicBezTo>
                  <a:pt x="50591" y="3163352"/>
                  <a:pt x="82483" y="3166310"/>
                  <a:pt x="113667" y="3171823"/>
                </a:cubicBezTo>
                <a:cubicBezTo>
                  <a:pt x="119243" y="3171407"/>
                  <a:pt x="124571" y="3172348"/>
                  <a:pt x="129879" y="3173350"/>
                </a:cubicBezTo>
                <a:lnTo>
                  <a:pt x="129997" y="3174489"/>
                </a:lnTo>
                <a:cubicBezTo>
                  <a:pt x="488847" y="3233421"/>
                  <a:pt x="769886" y="3511992"/>
                  <a:pt x="820162" y="3862087"/>
                </a:cubicBezTo>
                <a:cubicBezTo>
                  <a:pt x="820330" y="3862140"/>
                  <a:pt x="820499" y="3862145"/>
                  <a:pt x="820668" y="3862150"/>
                </a:cubicBezTo>
                <a:lnTo>
                  <a:pt x="821208" y="3868787"/>
                </a:lnTo>
                <a:cubicBezTo>
                  <a:pt x="826265" y="3898794"/>
                  <a:pt x="828714" y="3929436"/>
                  <a:pt x="828672" y="3960518"/>
                </a:cubicBezTo>
                <a:cubicBezTo>
                  <a:pt x="829984" y="3966104"/>
                  <a:pt x="830043" y="3971728"/>
                  <a:pt x="830043" y="3977366"/>
                </a:cubicBezTo>
                <a:cubicBezTo>
                  <a:pt x="830043" y="3981158"/>
                  <a:pt x="830016" y="3984944"/>
                  <a:pt x="829450" y="3988716"/>
                </a:cubicBezTo>
                <a:lnTo>
                  <a:pt x="828951" y="3988683"/>
                </a:lnTo>
                <a:lnTo>
                  <a:pt x="828925" y="3989174"/>
                </a:lnTo>
                <a:lnTo>
                  <a:pt x="811806" y="3987561"/>
                </a:lnTo>
                <a:cubicBezTo>
                  <a:pt x="779432" y="3987038"/>
                  <a:pt x="747552" y="3984080"/>
                  <a:pt x="716380" y="3978570"/>
                </a:cubicBezTo>
                <a:cubicBezTo>
                  <a:pt x="710803" y="3978986"/>
                  <a:pt x="705474" y="3978045"/>
                  <a:pt x="700163" y="3977042"/>
                </a:cubicBezTo>
                <a:lnTo>
                  <a:pt x="700047" y="3975903"/>
                </a:lnTo>
                <a:cubicBezTo>
                  <a:pt x="341196" y="3916971"/>
                  <a:pt x="60157" y="3638399"/>
                  <a:pt x="9881" y="3288305"/>
                </a:cubicBezTo>
                <a:cubicBezTo>
                  <a:pt x="9714" y="3288253"/>
                  <a:pt x="9545" y="3288248"/>
                  <a:pt x="9376" y="3288243"/>
                </a:cubicBezTo>
                <a:lnTo>
                  <a:pt x="8837" y="3281619"/>
                </a:lnTo>
                <a:cubicBezTo>
                  <a:pt x="3779" y="3251607"/>
                  <a:pt x="1328" y="3220958"/>
                  <a:pt x="1370" y="3189869"/>
                </a:cubicBezTo>
                <a:cubicBezTo>
                  <a:pt x="58" y="3184286"/>
                  <a:pt x="0" y="3178663"/>
                  <a:pt x="0" y="3173027"/>
                </a:cubicBezTo>
                <a:lnTo>
                  <a:pt x="594" y="3161677"/>
                </a:lnTo>
                <a:lnTo>
                  <a:pt x="1092" y="3161709"/>
                </a:lnTo>
                <a:close/>
                <a:moveTo>
                  <a:pt x="7762529" y="2447425"/>
                </a:moveTo>
                <a:cubicBezTo>
                  <a:pt x="7815805" y="2718331"/>
                  <a:pt x="8030648" y="2933128"/>
                  <a:pt x="8305838" y="2992271"/>
                </a:cubicBezTo>
                <a:cubicBezTo>
                  <a:pt x="8252563" y="2721365"/>
                  <a:pt x="8037719" y="2506568"/>
                  <a:pt x="7762529" y="2447425"/>
                </a:cubicBezTo>
                <a:close/>
                <a:moveTo>
                  <a:pt x="7455280" y="2447425"/>
                </a:moveTo>
                <a:cubicBezTo>
                  <a:pt x="7180090" y="2506568"/>
                  <a:pt x="6965246" y="2721365"/>
                  <a:pt x="6911971" y="2992271"/>
                </a:cubicBezTo>
                <a:cubicBezTo>
                  <a:pt x="7187161" y="2933128"/>
                  <a:pt x="7402004" y="2718331"/>
                  <a:pt x="7455280" y="2447425"/>
                </a:cubicBezTo>
                <a:close/>
                <a:moveTo>
                  <a:pt x="6070378" y="2447425"/>
                </a:moveTo>
                <a:cubicBezTo>
                  <a:pt x="6123654" y="2718331"/>
                  <a:pt x="6338497" y="2933128"/>
                  <a:pt x="6613687" y="2992271"/>
                </a:cubicBezTo>
                <a:cubicBezTo>
                  <a:pt x="6560412" y="2721365"/>
                  <a:pt x="6345568" y="2506568"/>
                  <a:pt x="6070378" y="2447425"/>
                </a:cubicBezTo>
                <a:close/>
                <a:moveTo>
                  <a:pt x="5763129" y="2447425"/>
                </a:moveTo>
                <a:cubicBezTo>
                  <a:pt x="5487939" y="2506568"/>
                  <a:pt x="5273095" y="2721365"/>
                  <a:pt x="5219820" y="2992271"/>
                </a:cubicBezTo>
                <a:cubicBezTo>
                  <a:pt x="5495010" y="2933128"/>
                  <a:pt x="5709853" y="2718331"/>
                  <a:pt x="5763129" y="2447425"/>
                </a:cubicBezTo>
                <a:close/>
                <a:moveTo>
                  <a:pt x="4378227" y="2447425"/>
                </a:moveTo>
                <a:cubicBezTo>
                  <a:pt x="4431503" y="2718331"/>
                  <a:pt x="4646346" y="2933128"/>
                  <a:pt x="4921536" y="2992271"/>
                </a:cubicBezTo>
                <a:cubicBezTo>
                  <a:pt x="4868261" y="2721365"/>
                  <a:pt x="4653417" y="2506568"/>
                  <a:pt x="4378227" y="2447425"/>
                </a:cubicBezTo>
                <a:close/>
                <a:moveTo>
                  <a:pt x="4070978" y="2447425"/>
                </a:moveTo>
                <a:cubicBezTo>
                  <a:pt x="3795788" y="2506568"/>
                  <a:pt x="3580944" y="2721365"/>
                  <a:pt x="3527669" y="2992271"/>
                </a:cubicBezTo>
                <a:cubicBezTo>
                  <a:pt x="3802859" y="2933128"/>
                  <a:pt x="4017702" y="2718331"/>
                  <a:pt x="4070978" y="2447425"/>
                </a:cubicBezTo>
                <a:close/>
                <a:moveTo>
                  <a:pt x="2686076" y="2447425"/>
                </a:moveTo>
                <a:cubicBezTo>
                  <a:pt x="2739352" y="2718331"/>
                  <a:pt x="2954195" y="2933128"/>
                  <a:pt x="3229385" y="2992271"/>
                </a:cubicBezTo>
                <a:cubicBezTo>
                  <a:pt x="3176110" y="2721365"/>
                  <a:pt x="2961266" y="2506568"/>
                  <a:pt x="2686076" y="2447425"/>
                </a:cubicBezTo>
                <a:close/>
                <a:moveTo>
                  <a:pt x="2378827" y="2447425"/>
                </a:moveTo>
                <a:cubicBezTo>
                  <a:pt x="2103637" y="2506568"/>
                  <a:pt x="1888793" y="2721365"/>
                  <a:pt x="1835518" y="2992271"/>
                </a:cubicBezTo>
                <a:cubicBezTo>
                  <a:pt x="2110708" y="2933128"/>
                  <a:pt x="2325551" y="2718331"/>
                  <a:pt x="2378827" y="2447425"/>
                </a:cubicBezTo>
                <a:close/>
                <a:moveTo>
                  <a:pt x="993925" y="2447425"/>
                </a:moveTo>
                <a:cubicBezTo>
                  <a:pt x="1047201" y="2718331"/>
                  <a:pt x="1262044" y="2933128"/>
                  <a:pt x="1537234" y="2992271"/>
                </a:cubicBezTo>
                <a:cubicBezTo>
                  <a:pt x="1483959" y="2721365"/>
                  <a:pt x="1269115" y="2506568"/>
                  <a:pt x="993925" y="2447425"/>
                </a:cubicBezTo>
                <a:close/>
                <a:moveTo>
                  <a:pt x="686676" y="2447425"/>
                </a:moveTo>
                <a:cubicBezTo>
                  <a:pt x="411486" y="2506568"/>
                  <a:pt x="196642" y="2721365"/>
                  <a:pt x="143367" y="2992271"/>
                </a:cubicBezTo>
                <a:cubicBezTo>
                  <a:pt x="418557" y="2933128"/>
                  <a:pt x="633400" y="2718331"/>
                  <a:pt x="686676" y="2447425"/>
                </a:cubicBezTo>
                <a:close/>
                <a:moveTo>
                  <a:pt x="9139239" y="2321311"/>
                </a:moveTo>
                <a:lnTo>
                  <a:pt x="9139239" y="2449820"/>
                </a:lnTo>
                <a:lnTo>
                  <a:pt x="9047261" y="2476706"/>
                </a:lnTo>
                <a:cubicBezTo>
                  <a:pt x="8821055" y="2561144"/>
                  <a:pt x="8650738" y="2755228"/>
                  <a:pt x="8604122" y="2992271"/>
                </a:cubicBezTo>
                <a:cubicBezTo>
                  <a:pt x="8844913" y="2940521"/>
                  <a:pt x="9039501" y="2769598"/>
                  <a:pt x="9120077" y="2546190"/>
                </a:cubicBezTo>
                <a:lnTo>
                  <a:pt x="9139239" y="2477003"/>
                </a:lnTo>
                <a:lnTo>
                  <a:pt x="9139239" y="2782562"/>
                </a:lnTo>
                <a:lnTo>
                  <a:pt x="9135069" y="2789374"/>
                </a:lnTo>
                <a:cubicBezTo>
                  <a:pt x="9008919" y="2963003"/>
                  <a:pt x="8815033" y="3086603"/>
                  <a:pt x="8590751" y="3123727"/>
                </a:cubicBezTo>
                <a:lnTo>
                  <a:pt x="8590635" y="3124875"/>
                </a:lnTo>
                <a:cubicBezTo>
                  <a:pt x="8585324" y="3125886"/>
                  <a:pt x="8579995" y="3126834"/>
                  <a:pt x="8574418" y="3126415"/>
                </a:cubicBezTo>
                <a:cubicBezTo>
                  <a:pt x="8543246" y="3131969"/>
                  <a:pt x="8511366" y="3134950"/>
                  <a:pt x="8478991" y="3135477"/>
                </a:cubicBezTo>
                <a:lnTo>
                  <a:pt x="8461873" y="3137103"/>
                </a:lnTo>
                <a:lnTo>
                  <a:pt x="8461847" y="3136608"/>
                </a:lnTo>
                <a:lnTo>
                  <a:pt x="8461348" y="3136641"/>
                </a:lnTo>
                <a:cubicBezTo>
                  <a:pt x="8460782" y="3132839"/>
                  <a:pt x="8460755" y="3129023"/>
                  <a:pt x="8460755" y="3125201"/>
                </a:cubicBezTo>
                <a:cubicBezTo>
                  <a:pt x="8460755" y="3119519"/>
                  <a:pt x="8460814" y="3113850"/>
                  <a:pt x="8462126" y="3108220"/>
                </a:cubicBezTo>
                <a:cubicBezTo>
                  <a:pt x="8462083" y="3076892"/>
                  <a:pt x="8464533" y="3046007"/>
                  <a:pt x="8469590" y="3015763"/>
                </a:cubicBezTo>
                <a:lnTo>
                  <a:pt x="8470130" y="3009073"/>
                </a:lnTo>
                <a:cubicBezTo>
                  <a:pt x="8470299" y="3009068"/>
                  <a:pt x="8470468" y="3009063"/>
                  <a:pt x="8470636" y="3009010"/>
                </a:cubicBezTo>
                <a:cubicBezTo>
                  <a:pt x="8514628" y="2700252"/>
                  <a:pt x="8735297" y="2446688"/>
                  <a:pt x="9030178" y="2348329"/>
                </a:cubicBezTo>
                <a:close/>
                <a:moveTo>
                  <a:pt x="7620280" y="2302594"/>
                </a:moveTo>
                <a:lnTo>
                  <a:pt x="7637367" y="2304217"/>
                </a:lnTo>
                <a:cubicBezTo>
                  <a:pt x="7669753" y="2304744"/>
                  <a:pt x="7701646" y="2307725"/>
                  <a:pt x="7732829" y="2313282"/>
                </a:cubicBezTo>
                <a:cubicBezTo>
                  <a:pt x="7738405" y="2312863"/>
                  <a:pt x="7743733" y="2313811"/>
                  <a:pt x="7749042" y="2314821"/>
                </a:cubicBezTo>
                <a:lnTo>
                  <a:pt x="7749159" y="2315969"/>
                </a:lnTo>
                <a:cubicBezTo>
                  <a:pt x="8108009" y="2375367"/>
                  <a:pt x="8389048" y="2656144"/>
                  <a:pt x="8439324" y="3009010"/>
                </a:cubicBezTo>
                <a:cubicBezTo>
                  <a:pt x="8439492" y="3009063"/>
                  <a:pt x="8439661" y="3009068"/>
                  <a:pt x="8439830" y="3009073"/>
                </a:cubicBezTo>
                <a:lnTo>
                  <a:pt x="8440370" y="3015763"/>
                </a:lnTo>
                <a:cubicBezTo>
                  <a:pt x="8445427" y="3046007"/>
                  <a:pt x="8447877" y="3076892"/>
                  <a:pt x="8447834" y="3108220"/>
                </a:cubicBezTo>
                <a:cubicBezTo>
                  <a:pt x="8449146" y="3113850"/>
                  <a:pt x="8449205" y="3119519"/>
                  <a:pt x="8449205" y="3125201"/>
                </a:cubicBezTo>
                <a:cubicBezTo>
                  <a:pt x="8449205" y="3129023"/>
                  <a:pt x="8449178" y="3132839"/>
                  <a:pt x="8448612" y="3136641"/>
                </a:cubicBezTo>
                <a:lnTo>
                  <a:pt x="8448113" y="3136608"/>
                </a:lnTo>
                <a:lnTo>
                  <a:pt x="8448087" y="3137103"/>
                </a:lnTo>
                <a:lnTo>
                  <a:pt x="8430969" y="3135477"/>
                </a:lnTo>
                <a:cubicBezTo>
                  <a:pt x="8398594" y="3134950"/>
                  <a:pt x="8366714" y="3131969"/>
                  <a:pt x="8335542" y="3126415"/>
                </a:cubicBezTo>
                <a:cubicBezTo>
                  <a:pt x="8329965" y="3126834"/>
                  <a:pt x="8324636" y="3125886"/>
                  <a:pt x="8319325" y="3124875"/>
                </a:cubicBezTo>
                <a:lnTo>
                  <a:pt x="8319209" y="3123727"/>
                </a:lnTo>
                <a:cubicBezTo>
                  <a:pt x="7960358" y="3064328"/>
                  <a:pt x="7679319" y="2783551"/>
                  <a:pt x="7629044" y="2430686"/>
                </a:cubicBezTo>
                <a:cubicBezTo>
                  <a:pt x="7628876" y="2430633"/>
                  <a:pt x="7628708" y="2430628"/>
                  <a:pt x="7628538" y="2430623"/>
                </a:cubicBezTo>
                <a:lnTo>
                  <a:pt x="7628000" y="2423947"/>
                </a:lnTo>
                <a:cubicBezTo>
                  <a:pt x="7622941" y="2393697"/>
                  <a:pt x="7620490" y="2362806"/>
                  <a:pt x="7620533" y="2331471"/>
                </a:cubicBezTo>
                <a:cubicBezTo>
                  <a:pt x="7619221" y="2325843"/>
                  <a:pt x="7619162" y="2320176"/>
                  <a:pt x="7619162" y="2314495"/>
                </a:cubicBezTo>
                <a:lnTo>
                  <a:pt x="7619756" y="2303055"/>
                </a:lnTo>
                <a:lnTo>
                  <a:pt x="7620254" y="2303088"/>
                </a:lnTo>
                <a:close/>
                <a:moveTo>
                  <a:pt x="7597529" y="2302594"/>
                </a:moveTo>
                <a:lnTo>
                  <a:pt x="7597555" y="2303088"/>
                </a:lnTo>
                <a:lnTo>
                  <a:pt x="7598053" y="2303055"/>
                </a:lnTo>
                <a:lnTo>
                  <a:pt x="7598647" y="2314495"/>
                </a:lnTo>
                <a:cubicBezTo>
                  <a:pt x="7598647" y="2320176"/>
                  <a:pt x="7598588" y="2325843"/>
                  <a:pt x="7597276" y="2331471"/>
                </a:cubicBezTo>
                <a:cubicBezTo>
                  <a:pt x="7597319" y="2362806"/>
                  <a:pt x="7594868" y="2393697"/>
                  <a:pt x="7589809" y="2423947"/>
                </a:cubicBezTo>
                <a:lnTo>
                  <a:pt x="7589271" y="2430623"/>
                </a:lnTo>
                <a:cubicBezTo>
                  <a:pt x="7589101" y="2430628"/>
                  <a:pt x="7588933" y="2430633"/>
                  <a:pt x="7588765" y="2430686"/>
                </a:cubicBezTo>
                <a:cubicBezTo>
                  <a:pt x="7538490" y="2783551"/>
                  <a:pt x="7257451" y="3064328"/>
                  <a:pt x="6898600" y="3123727"/>
                </a:cubicBezTo>
                <a:lnTo>
                  <a:pt x="6898484" y="3124875"/>
                </a:lnTo>
                <a:cubicBezTo>
                  <a:pt x="6893173" y="3125886"/>
                  <a:pt x="6887844" y="3126834"/>
                  <a:pt x="6882267" y="3126415"/>
                </a:cubicBezTo>
                <a:cubicBezTo>
                  <a:pt x="6851095" y="3131969"/>
                  <a:pt x="6819215" y="3134950"/>
                  <a:pt x="6786841" y="3135477"/>
                </a:cubicBezTo>
                <a:lnTo>
                  <a:pt x="6769722" y="3137103"/>
                </a:lnTo>
                <a:lnTo>
                  <a:pt x="6769696" y="3136608"/>
                </a:lnTo>
                <a:lnTo>
                  <a:pt x="6769197" y="3136641"/>
                </a:lnTo>
                <a:cubicBezTo>
                  <a:pt x="6768631" y="3132839"/>
                  <a:pt x="6768604" y="3129023"/>
                  <a:pt x="6768604" y="3125201"/>
                </a:cubicBezTo>
                <a:cubicBezTo>
                  <a:pt x="6768604" y="3119519"/>
                  <a:pt x="6768663" y="3113850"/>
                  <a:pt x="6769975" y="3108220"/>
                </a:cubicBezTo>
                <a:cubicBezTo>
                  <a:pt x="6769933" y="3076892"/>
                  <a:pt x="6772382" y="3046007"/>
                  <a:pt x="6777439" y="3015763"/>
                </a:cubicBezTo>
                <a:lnTo>
                  <a:pt x="6777979" y="3009073"/>
                </a:lnTo>
                <a:cubicBezTo>
                  <a:pt x="6778148" y="3009068"/>
                  <a:pt x="6778317" y="3009063"/>
                  <a:pt x="6778485" y="3009010"/>
                </a:cubicBezTo>
                <a:cubicBezTo>
                  <a:pt x="6828761" y="2656144"/>
                  <a:pt x="7109800" y="2375367"/>
                  <a:pt x="7468650" y="2315969"/>
                </a:cubicBezTo>
                <a:lnTo>
                  <a:pt x="7468767" y="2314821"/>
                </a:lnTo>
                <a:cubicBezTo>
                  <a:pt x="7474076" y="2313811"/>
                  <a:pt x="7479404" y="2312863"/>
                  <a:pt x="7484980" y="2313282"/>
                </a:cubicBezTo>
                <a:cubicBezTo>
                  <a:pt x="7516163" y="2307725"/>
                  <a:pt x="7548056" y="2304744"/>
                  <a:pt x="7580442" y="2304217"/>
                </a:cubicBezTo>
                <a:close/>
                <a:moveTo>
                  <a:pt x="5928129" y="2302594"/>
                </a:moveTo>
                <a:lnTo>
                  <a:pt x="5945217" y="2304217"/>
                </a:lnTo>
                <a:cubicBezTo>
                  <a:pt x="5977602" y="2304744"/>
                  <a:pt x="6009495" y="2307725"/>
                  <a:pt x="6040678" y="2313282"/>
                </a:cubicBezTo>
                <a:cubicBezTo>
                  <a:pt x="6046254" y="2312863"/>
                  <a:pt x="6051582" y="2313811"/>
                  <a:pt x="6056891" y="2314821"/>
                </a:cubicBezTo>
                <a:lnTo>
                  <a:pt x="6057008" y="2315969"/>
                </a:lnTo>
                <a:cubicBezTo>
                  <a:pt x="6415858" y="2375367"/>
                  <a:pt x="6696897" y="2656144"/>
                  <a:pt x="6747174" y="3009010"/>
                </a:cubicBezTo>
                <a:cubicBezTo>
                  <a:pt x="6747341" y="3009063"/>
                  <a:pt x="6747511" y="3009068"/>
                  <a:pt x="6747679" y="3009073"/>
                </a:cubicBezTo>
                <a:lnTo>
                  <a:pt x="6748220" y="3015763"/>
                </a:lnTo>
                <a:cubicBezTo>
                  <a:pt x="6753276" y="3046007"/>
                  <a:pt x="6755726" y="3076892"/>
                  <a:pt x="6755684" y="3108220"/>
                </a:cubicBezTo>
                <a:cubicBezTo>
                  <a:pt x="6756996" y="3113850"/>
                  <a:pt x="6757054" y="3119519"/>
                  <a:pt x="6757054" y="3125201"/>
                </a:cubicBezTo>
                <a:cubicBezTo>
                  <a:pt x="6757054" y="3129023"/>
                  <a:pt x="6757027" y="3132839"/>
                  <a:pt x="6756461" y="3136641"/>
                </a:cubicBezTo>
                <a:lnTo>
                  <a:pt x="6755962" y="3136608"/>
                </a:lnTo>
                <a:lnTo>
                  <a:pt x="6755936" y="3137103"/>
                </a:lnTo>
                <a:lnTo>
                  <a:pt x="6738818" y="3135477"/>
                </a:lnTo>
                <a:cubicBezTo>
                  <a:pt x="6706444" y="3134950"/>
                  <a:pt x="6674563" y="3131969"/>
                  <a:pt x="6643391" y="3126415"/>
                </a:cubicBezTo>
                <a:cubicBezTo>
                  <a:pt x="6637814" y="3126834"/>
                  <a:pt x="6632485" y="3125886"/>
                  <a:pt x="6627175" y="3124875"/>
                </a:cubicBezTo>
                <a:lnTo>
                  <a:pt x="6627059" y="3123727"/>
                </a:lnTo>
                <a:cubicBezTo>
                  <a:pt x="6268207" y="3064328"/>
                  <a:pt x="5987168" y="2783551"/>
                  <a:pt x="5936893" y="2430686"/>
                </a:cubicBezTo>
                <a:cubicBezTo>
                  <a:pt x="5936725" y="2430633"/>
                  <a:pt x="5936557" y="2430628"/>
                  <a:pt x="5936387" y="2430623"/>
                </a:cubicBezTo>
                <a:lnTo>
                  <a:pt x="5935849" y="2423947"/>
                </a:lnTo>
                <a:cubicBezTo>
                  <a:pt x="5930790" y="2393697"/>
                  <a:pt x="5928340" y="2362806"/>
                  <a:pt x="5928382" y="2331471"/>
                </a:cubicBezTo>
                <a:cubicBezTo>
                  <a:pt x="5927070" y="2325843"/>
                  <a:pt x="5927011" y="2320176"/>
                  <a:pt x="5927011" y="2314495"/>
                </a:cubicBezTo>
                <a:lnTo>
                  <a:pt x="5927605" y="2303055"/>
                </a:lnTo>
                <a:lnTo>
                  <a:pt x="5928103" y="2303088"/>
                </a:lnTo>
                <a:close/>
                <a:moveTo>
                  <a:pt x="5905378" y="2302594"/>
                </a:moveTo>
                <a:lnTo>
                  <a:pt x="5905404" y="2303088"/>
                </a:lnTo>
                <a:lnTo>
                  <a:pt x="5905902" y="2303055"/>
                </a:lnTo>
                <a:lnTo>
                  <a:pt x="5906496" y="2314495"/>
                </a:lnTo>
                <a:cubicBezTo>
                  <a:pt x="5906496" y="2320176"/>
                  <a:pt x="5906438" y="2325843"/>
                  <a:pt x="5905126" y="2331471"/>
                </a:cubicBezTo>
                <a:cubicBezTo>
                  <a:pt x="5905168" y="2362806"/>
                  <a:pt x="5902717" y="2393697"/>
                  <a:pt x="5897659" y="2423947"/>
                </a:cubicBezTo>
                <a:lnTo>
                  <a:pt x="5897120" y="2430623"/>
                </a:lnTo>
                <a:cubicBezTo>
                  <a:pt x="5896951" y="2430628"/>
                  <a:pt x="5896782" y="2430633"/>
                  <a:pt x="5896615" y="2430686"/>
                </a:cubicBezTo>
                <a:cubicBezTo>
                  <a:pt x="5846339" y="2783551"/>
                  <a:pt x="5565300" y="3064328"/>
                  <a:pt x="5206449" y="3123727"/>
                </a:cubicBezTo>
                <a:lnTo>
                  <a:pt x="5206334" y="3124875"/>
                </a:lnTo>
                <a:cubicBezTo>
                  <a:pt x="5201022" y="3125886"/>
                  <a:pt x="5195693" y="3126834"/>
                  <a:pt x="5190116" y="3126415"/>
                </a:cubicBezTo>
                <a:cubicBezTo>
                  <a:pt x="5158944" y="3131969"/>
                  <a:pt x="5127065" y="3134950"/>
                  <a:pt x="5094690" y="3135477"/>
                </a:cubicBezTo>
                <a:lnTo>
                  <a:pt x="5077571" y="3137103"/>
                </a:lnTo>
                <a:lnTo>
                  <a:pt x="5077545" y="3136608"/>
                </a:lnTo>
                <a:lnTo>
                  <a:pt x="5077046" y="3136641"/>
                </a:lnTo>
                <a:cubicBezTo>
                  <a:pt x="5076480" y="3132839"/>
                  <a:pt x="5076453" y="3129023"/>
                  <a:pt x="5076453" y="3125201"/>
                </a:cubicBezTo>
                <a:cubicBezTo>
                  <a:pt x="5076453" y="3119519"/>
                  <a:pt x="5076512" y="3113850"/>
                  <a:pt x="5077824" y="3108220"/>
                </a:cubicBezTo>
                <a:cubicBezTo>
                  <a:pt x="5077782" y="3076892"/>
                  <a:pt x="5080231" y="3046007"/>
                  <a:pt x="5085288" y="3015763"/>
                </a:cubicBezTo>
                <a:lnTo>
                  <a:pt x="5085828" y="3009073"/>
                </a:lnTo>
                <a:cubicBezTo>
                  <a:pt x="5085997" y="3009068"/>
                  <a:pt x="5086166" y="3009063"/>
                  <a:pt x="5086334" y="3009010"/>
                </a:cubicBezTo>
                <a:cubicBezTo>
                  <a:pt x="5136610" y="2656144"/>
                  <a:pt x="5417649" y="2375367"/>
                  <a:pt x="5776501" y="2315969"/>
                </a:cubicBezTo>
                <a:lnTo>
                  <a:pt x="5776617" y="2314821"/>
                </a:lnTo>
                <a:cubicBezTo>
                  <a:pt x="5781926" y="2313811"/>
                  <a:pt x="5787253" y="2312863"/>
                  <a:pt x="5792829" y="2313282"/>
                </a:cubicBezTo>
                <a:cubicBezTo>
                  <a:pt x="5824013" y="2307725"/>
                  <a:pt x="5855905" y="2304744"/>
                  <a:pt x="5888291" y="2304217"/>
                </a:cubicBezTo>
                <a:close/>
                <a:moveTo>
                  <a:pt x="4235979" y="2302594"/>
                </a:moveTo>
                <a:lnTo>
                  <a:pt x="4253065" y="2304217"/>
                </a:lnTo>
                <a:cubicBezTo>
                  <a:pt x="4285451" y="2304744"/>
                  <a:pt x="4317343" y="2307725"/>
                  <a:pt x="4348528" y="2313282"/>
                </a:cubicBezTo>
                <a:cubicBezTo>
                  <a:pt x="4354104" y="2312863"/>
                  <a:pt x="4359431" y="2313811"/>
                  <a:pt x="4364739" y="2314821"/>
                </a:cubicBezTo>
                <a:lnTo>
                  <a:pt x="4364856" y="2315969"/>
                </a:lnTo>
                <a:cubicBezTo>
                  <a:pt x="4723707" y="2375367"/>
                  <a:pt x="5004746" y="2656144"/>
                  <a:pt x="5055022" y="3009010"/>
                </a:cubicBezTo>
                <a:cubicBezTo>
                  <a:pt x="5055190" y="3009063"/>
                  <a:pt x="5055359" y="3009068"/>
                  <a:pt x="5055528" y="3009073"/>
                </a:cubicBezTo>
                <a:lnTo>
                  <a:pt x="5056068" y="3015763"/>
                </a:lnTo>
                <a:cubicBezTo>
                  <a:pt x="5061125" y="3046007"/>
                  <a:pt x="5063574" y="3076892"/>
                  <a:pt x="5063532" y="3108220"/>
                </a:cubicBezTo>
                <a:cubicBezTo>
                  <a:pt x="5064844" y="3113850"/>
                  <a:pt x="5064903" y="3119519"/>
                  <a:pt x="5064903" y="3125201"/>
                </a:cubicBezTo>
                <a:cubicBezTo>
                  <a:pt x="5064903" y="3129023"/>
                  <a:pt x="5064876" y="3132839"/>
                  <a:pt x="5064310" y="3136641"/>
                </a:cubicBezTo>
                <a:lnTo>
                  <a:pt x="5063811" y="3136608"/>
                </a:lnTo>
                <a:lnTo>
                  <a:pt x="5063785" y="3137103"/>
                </a:lnTo>
                <a:lnTo>
                  <a:pt x="5046666" y="3135477"/>
                </a:lnTo>
                <a:cubicBezTo>
                  <a:pt x="5014292" y="3134950"/>
                  <a:pt x="4982412" y="3131969"/>
                  <a:pt x="4951241" y="3126415"/>
                </a:cubicBezTo>
                <a:cubicBezTo>
                  <a:pt x="4945663" y="3126834"/>
                  <a:pt x="4940334" y="3125886"/>
                  <a:pt x="4935023" y="3124875"/>
                </a:cubicBezTo>
                <a:lnTo>
                  <a:pt x="4934907" y="3123727"/>
                </a:lnTo>
                <a:cubicBezTo>
                  <a:pt x="4576056" y="3064328"/>
                  <a:pt x="4295017" y="2783551"/>
                  <a:pt x="4244741" y="2430686"/>
                </a:cubicBezTo>
                <a:cubicBezTo>
                  <a:pt x="4244574" y="2430633"/>
                  <a:pt x="4244405" y="2430628"/>
                  <a:pt x="4244236" y="2430623"/>
                </a:cubicBezTo>
                <a:lnTo>
                  <a:pt x="4243697" y="2423947"/>
                </a:lnTo>
                <a:cubicBezTo>
                  <a:pt x="4238639" y="2393697"/>
                  <a:pt x="4236188" y="2362806"/>
                  <a:pt x="4236230" y="2331471"/>
                </a:cubicBezTo>
                <a:cubicBezTo>
                  <a:pt x="4234918" y="2325843"/>
                  <a:pt x="4234860" y="2320176"/>
                  <a:pt x="4234860" y="2314495"/>
                </a:cubicBezTo>
                <a:lnTo>
                  <a:pt x="4235454" y="2303055"/>
                </a:lnTo>
                <a:lnTo>
                  <a:pt x="4235952" y="2303088"/>
                </a:lnTo>
                <a:close/>
                <a:moveTo>
                  <a:pt x="4213227" y="2302594"/>
                </a:moveTo>
                <a:lnTo>
                  <a:pt x="4213253" y="2303088"/>
                </a:lnTo>
                <a:lnTo>
                  <a:pt x="4213751" y="2303055"/>
                </a:lnTo>
                <a:lnTo>
                  <a:pt x="4214345" y="2314495"/>
                </a:lnTo>
                <a:cubicBezTo>
                  <a:pt x="4214345" y="2320176"/>
                  <a:pt x="4214286" y="2325843"/>
                  <a:pt x="4212974" y="2331471"/>
                </a:cubicBezTo>
                <a:cubicBezTo>
                  <a:pt x="4213016" y="2362806"/>
                  <a:pt x="4210566" y="2393697"/>
                  <a:pt x="4205507" y="2423947"/>
                </a:cubicBezTo>
                <a:lnTo>
                  <a:pt x="4204969" y="2430623"/>
                </a:lnTo>
                <a:cubicBezTo>
                  <a:pt x="4204799" y="2430628"/>
                  <a:pt x="4204631" y="2430633"/>
                  <a:pt x="4204463" y="2430686"/>
                </a:cubicBezTo>
                <a:cubicBezTo>
                  <a:pt x="4154188" y="2783551"/>
                  <a:pt x="3873149" y="3064328"/>
                  <a:pt x="3514297" y="3123727"/>
                </a:cubicBezTo>
                <a:lnTo>
                  <a:pt x="3514181" y="3124875"/>
                </a:lnTo>
                <a:cubicBezTo>
                  <a:pt x="3508871" y="3125886"/>
                  <a:pt x="3503542" y="3126834"/>
                  <a:pt x="3497965" y="3126415"/>
                </a:cubicBezTo>
                <a:cubicBezTo>
                  <a:pt x="3466793" y="3131969"/>
                  <a:pt x="3434912" y="3134950"/>
                  <a:pt x="3402538" y="3135477"/>
                </a:cubicBezTo>
                <a:lnTo>
                  <a:pt x="3385420" y="3137103"/>
                </a:lnTo>
                <a:lnTo>
                  <a:pt x="3385394" y="3136608"/>
                </a:lnTo>
                <a:lnTo>
                  <a:pt x="3384895" y="3136641"/>
                </a:lnTo>
                <a:cubicBezTo>
                  <a:pt x="3384329" y="3132839"/>
                  <a:pt x="3384302" y="3129023"/>
                  <a:pt x="3384302" y="3125201"/>
                </a:cubicBezTo>
                <a:cubicBezTo>
                  <a:pt x="3384302" y="3119519"/>
                  <a:pt x="3384360" y="3113850"/>
                  <a:pt x="3385672" y="3108220"/>
                </a:cubicBezTo>
                <a:cubicBezTo>
                  <a:pt x="3385630" y="3076892"/>
                  <a:pt x="3388080" y="3046007"/>
                  <a:pt x="3393136" y="3015763"/>
                </a:cubicBezTo>
                <a:lnTo>
                  <a:pt x="3393677" y="3009073"/>
                </a:lnTo>
                <a:cubicBezTo>
                  <a:pt x="3393845" y="3009068"/>
                  <a:pt x="3394015" y="3009063"/>
                  <a:pt x="3394182" y="3009010"/>
                </a:cubicBezTo>
                <a:cubicBezTo>
                  <a:pt x="3444459" y="2656144"/>
                  <a:pt x="3725498" y="2375367"/>
                  <a:pt x="4084348" y="2315969"/>
                </a:cubicBezTo>
                <a:lnTo>
                  <a:pt x="4084465" y="2314821"/>
                </a:lnTo>
                <a:cubicBezTo>
                  <a:pt x="4089774" y="2313811"/>
                  <a:pt x="4095102" y="2312863"/>
                  <a:pt x="4100678" y="2313282"/>
                </a:cubicBezTo>
                <a:cubicBezTo>
                  <a:pt x="4131861" y="2307725"/>
                  <a:pt x="4163754" y="2304744"/>
                  <a:pt x="4196139" y="2304217"/>
                </a:cubicBezTo>
                <a:close/>
                <a:moveTo>
                  <a:pt x="2543827" y="2302594"/>
                </a:moveTo>
                <a:lnTo>
                  <a:pt x="2560914" y="2304217"/>
                </a:lnTo>
                <a:cubicBezTo>
                  <a:pt x="2593300" y="2304744"/>
                  <a:pt x="2625192" y="2307725"/>
                  <a:pt x="2656376" y="2313282"/>
                </a:cubicBezTo>
                <a:cubicBezTo>
                  <a:pt x="2661952" y="2312863"/>
                  <a:pt x="2667280" y="2313811"/>
                  <a:pt x="2672588" y="2314821"/>
                </a:cubicBezTo>
                <a:lnTo>
                  <a:pt x="2672706" y="2315969"/>
                </a:lnTo>
                <a:cubicBezTo>
                  <a:pt x="3031556" y="2375367"/>
                  <a:pt x="3312595" y="2656144"/>
                  <a:pt x="3362871" y="3009010"/>
                </a:cubicBezTo>
                <a:cubicBezTo>
                  <a:pt x="3363039" y="3009063"/>
                  <a:pt x="3363208" y="3009068"/>
                  <a:pt x="3363377" y="3009073"/>
                </a:cubicBezTo>
                <a:lnTo>
                  <a:pt x="3363917" y="3015763"/>
                </a:lnTo>
                <a:cubicBezTo>
                  <a:pt x="3368974" y="3046007"/>
                  <a:pt x="3371423" y="3076892"/>
                  <a:pt x="3371381" y="3108220"/>
                </a:cubicBezTo>
                <a:cubicBezTo>
                  <a:pt x="3372693" y="3113850"/>
                  <a:pt x="3372752" y="3119519"/>
                  <a:pt x="3372752" y="3125201"/>
                </a:cubicBezTo>
                <a:cubicBezTo>
                  <a:pt x="3372752" y="3129023"/>
                  <a:pt x="3372725" y="3132839"/>
                  <a:pt x="3372159" y="3136641"/>
                </a:cubicBezTo>
                <a:lnTo>
                  <a:pt x="3371660" y="3136608"/>
                </a:lnTo>
                <a:lnTo>
                  <a:pt x="3371634" y="3137103"/>
                </a:lnTo>
                <a:lnTo>
                  <a:pt x="3354515" y="3135477"/>
                </a:lnTo>
                <a:cubicBezTo>
                  <a:pt x="3322141" y="3134950"/>
                  <a:pt x="3290261" y="3131969"/>
                  <a:pt x="3259089" y="3126415"/>
                </a:cubicBezTo>
                <a:cubicBezTo>
                  <a:pt x="3253512" y="3126834"/>
                  <a:pt x="3248183" y="3125886"/>
                  <a:pt x="3242872" y="3124875"/>
                </a:cubicBezTo>
                <a:lnTo>
                  <a:pt x="3242756" y="3123727"/>
                </a:lnTo>
                <a:cubicBezTo>
                  <a:pt x="2883905" y="3064328"/>
                  <a:pt x="2602866" y="2783551"/>
                  <a:pt x="2552590" y="2430686"/>
                </a:cubicBezTo>
                <a:cubicBezTo>
                  <a:pt x="2552423" y="2430633"/>
                  <a:pt x="2552254" y="2430628"/>
                  <a:pt x="2552085" y="2430623"/>
                </a:cubicBezTo>
                <a:lnTo>
                  <a:pt x="2551547" y="2423947"/>
                </a:lnTo>
                <a:cubicBezTo>
                  <a:pt x="2546488" y="2393697"/>
                  <a:pt x="2544037" y="2362806"/>
                  <a:pt x="2544079" y="2331471"/>
                </a:cubicBezTo>
                <a:cubicBezTo>
                  <a:pt x="2542767" y="2325843"/>
                  <a:pt x="2542709" y="2320176"/>
                  <a:pt x="2542709" y="2314495"/>
                </a:cubicBezTo>
                <a:lnTo>
                  <a:pt x="2543303" y="2303055"/>
                </a:lnTo>
                <a:lnTo>
                  <a:pt x="2543801" y="2303088"/>
                </a:lnTo>
                <a:close/>
                <a:moveTo>
                  <a:pt x="2521076" y="2302594"/>
                </a:moveTo>
                <a:lnTo>
                  <a:pt x="2521102" y="2303088"/>
                </a:lnTo>
                <a:lnTo>
                  <a:pt x="2521600" y="2303055"/>
                </a:lnTo>
                <a:lnTo>
                  <a:pt x="2522194" y="2314495"/>
                </a:lnTo>
                <a:cubicBezTo>
                  <a:pt x="2522194" y="2320176"/>
                  <a:pt x="2522135" y="2325843"/>
                  <a:pt x="2520823" y="2331471"/>
                </a:cubicBezTo>
                <a:cubicBezTo>
                  <a:pt x="2520865" y="2362806"/>
                  <a:pt x="2518415" y="2393697"/>
                  <a:pt x="2513356" y="2423947"/>
                </a:cubicBezTo>
                <a:lnTo>
                  <a:pt x="2512818" y="2430623"/>
                </a:lnTo>
                <a:cubicBezTo>
                  <a:pt x="2512648" y="2430628"/>
                  <a:pt x="2512480" y="2430633"/>
                  <a:pt x="2512312" y="2430686"/>
                </a:cubicBezTo>
                <a:cubicBezTo>
                  <a:pt x="2462037" y="2783551"/>
                  <a:pt x="2180998" y="3064328"/>
                  <a:pt x="1822147" y="3123727"/>
                </a:cubicBezTo>
                <a:lnTo>
                  <a:pt x="1822030" y="3124875"/>
                </a:lnTo>
                <a:cubicBezTo>
                  <a:pt x="1816720" y="3125886"/>
                  <a:pt x="1811391" y="3126834"/>
                  <a:pt x="1805814" y="3126415"/>
                </a:cubicBezTo>
                <a:cubicBezTo>
                  <a:pt x="1774642" y="3131969"/>
                  <a:pt x="1742762" y="3134950"/>
                  <a:pt x="1710387" y="3135477"/>
                </a:cubicBezTo>
                <a:lnTo>
                  <a:pt x="1693269" y="3137103"/>
                </a:lnTo>
                <a:lnTo>
                  <a:pt x="1693243" y="3136608"/>
                </a:lnTo>
                <a:lnTo>
                  <a:pt x="1692744" y="3136641"/>
                </a:lnTo>
                <a:cubicBezTo>
                  <a:pt x="1692178" y="3132839"/>
                  <a:pt x="1692151" y="3129023"/>
                  <a:pt x="1692151" y="3125201"/>
                </a:cubicBezTo>
                <a:cubicBezTo>
                  <a:pt x="1692151" y="3119519"/>
                  <a:pt x="1692209" y="3113850"/>
                  <a:pt x="1693521" y="3108220"/>
                </a:cubicBezTo>
                <a:cubicBezTo>
                  <a:pt x="1693479" y="3076892"/>
                  <a:pt x="1695929" y="3046007"/>
                  <a:pt x="1700985" y="3015763"/>
                </a:cubicBezTo>
                <a:lnTo>
                  <a:pt x="1701526" y="3009073"/>
                </a:lnTo>
                <a:cubicBezTo>
                  <a:pt x="1701694" y="3009068"/>
                  <a:pt x="1701864" y="3009063"/>
                  <a:pt x="1702031" y="3009010"/>
                </a:cubicBezTo>
                <a:cubicBezTo>
                  <a:pt x="1752308" y="2656144"/>
                  <a:pt x="2033347" y="2375367"/>
                  <a:pt x="2392197" y="2315969"/>
                </a:cubicBezTo>
                <a:lnTo>
                  <a:pt x="2392314" y="2314821"/>
                </a:lnTo>
                <a:cubicBezTo>
                  <a:pt x="2397623" y="2313811"/>
                  <a:pt x="2402951" y="2312863"/>
                  <a:pt x="2408527" y="2313282"/>
                </a:cubicBezTo>
                <a:cubicBezTo>
                  <a:pt x="2439710" y="2307725"/>
                  <a:pt x="2471603" y="2304744"/>
                  <a:pt x="2503988" y="2304217"/>
                </a:cubicBezTo>
                <a:close/>
                <a:moveTo>
                  <a:pt x="851676" y="2302594"/>
                </a:moveTo>
                <a:lnTo>
                  <a:pt x="868763" y="2304217"/>
                </a:lnTo>
                <a:cubicBezTo>
                  <a:pt x="901149" y="2304744"/>
                  <a:pt x="933041" y="2307725"/>
                  <a:pt x="964225" y="2313282"/>
                </a:cubicBezTo>
                <a:cubicBezTo>
                  <a:pt x="969801" y="2312863"/>
                  <a:pt x="975129" y="2313811"/>
                  <a:pt x="980437" y="2314821"/>
                </a:cubicBezTo>
                <a:lnTo>
                  <a:pt x="980555" y="2315969"/>
                </a:lnTo>
                <a:cubicBezTo>
                  <a:pt x="1339405" y="2375367"/>
                  <a:pt x="1620444" y="2656144"/>
                  <a:pt x="1670720" y="3009010"/>
                </a:cubicBezTo>
                <a:cubicBezTo>
                  <a:pt x="1670888" y="3009063"/>
                  <a:pt x="1671057" y="3009068"/>
                  <a:pt x="1671226" y="3009073"/>
                </a:cubicBezTo>
                <a:lnTo>
                  <a:pt x="1671766" y="3015763"/>
                </a:lnTo>
                <a:cubicBezTo>
                  <a:pt x="1676823" y="3046007"/>
                  <a:pt x="1679272" y="3076892"/>
                  <a:pt x="1679230" y="3108220"/>
                </a:cubicBezTo>
                <a:cubicBezTo>
                  <a:pt x="1680542" y="3113850"/>
                  <a:pt x="1680601" y="3119519"/>
                  <a:pt x="1680601" y="3125201"/>
                </a:cubicBezTo>
                <a:cubicBezTo>
                  <a:pt x="1680601" y="3129023"/>
                  <a:pt x="1680574" y="3132839"/>
                  <a:pt x="1680008" y="3136641"/>
                </a:cubicBezTo>
                <a:lnTo>
                  <a:pt x="1679509" y="3136608"/>
                </a:lnTo>
                <a:lnTo>
                  <a:pt x="1679483" y="3137103"/>
                </a:lnTo>
                <a:lnTo>
                  <a:pt x="1662364" y="3135477"/>
                </a:lnTo>
                <a:cubicBezTo>
                  <a:pt x="1629990" y="3134950"/>
                  <a:pt x="1598110" y="3131969"/>
                  <a:pt x="1566938" y="3126415"/>
                </a:cubicBezTo>
                <a:cubicBezTo>
                  <a:pt x="1561361" y="3126834"/>
                  <a:pt x="1556032" y="3125886"/>
                  <a:pt x="1550721" y="3124875"/>
                </a:cubicBezTo>
                <a:lnTo>
                  <a:pt x="1550605" y="3123727"/>
                </a:lnTo>
                <a:cubicBezTo>
                  <a:pt x="1191754" y="3064328"/>
                  <a:pt x="910715" y="2783551"/>
                  <a:pt x="860439" y="2430686"/>
                </a:cubicBezTo>
                <a:cubicBezTo>
                  <a:pt x="860272" y="2430633"/>
                  <a:pt x="860103" y="2430628"/>
                  <a:pt x="859934" y="2430623"/>
                </a:cubicBezTo>
                <a:lnTo>
                  <a:pt x="859396" y="2423947"/>
                </a:lnTo>
                <a:cubicBezTo>
                  <a:pt x="854337" y="2393697"/>
                  <a:pt x="851886" y="2362806"/>
                  <a:pt x="851928" y="2331471"/>
                </a:cubicBezTo>
                <a:cubicBezTo>
                  <a:pt x="850616" y="2325843"/>
                  <a:pt x="850558" y="2320176"/>
                  <a:pt x="850558" y="2314495"/>
                </a:cubicBezTo>
                <a:lnTo>
                  <a:pt x="851152" y="2303055"/>
                </a:lnTo>
                <a:lnTo>
                  <a:pt x="851650" y="2303088"/>
                </a:lnTo>
                <a:close/>
                <a:moveTo>
                  <a:pt x="828925" y="2302594"/>
                </a:moveTo>
                <a:lnTo>
                  <a:pt x="828951" y="2303088"/>
                </a:lnTo>
                <a:lnTo>
                  <a:pt x="829449" y="2303055"/>
                </a:lnTo>
                <a:lnTo>
                  <a:pt x="830043" y="2314495"/>
                </a:lnTo>
                <a:cubicBezTo>
                  <a:pt x="830043" y="2320176"/>
                  <a:pt x="829984" y="2325843"/>
                  <a:pt x="828672" y="2331471"/>
                </a:cubicBezTo>
                <a:cubicBezTo>
                  <a:pt x="828714" y="2362806"/>
                  <a:pt x="826264" y="2393697"/>
                  <a:pt x="821205" y="2423947"/>
                </a:cubicBezTo>
                <a:lnTo>
                  <a:pt x="820667" y="2430623"/>
                </a:lnTo>
                <a:cubicBezTo>
                  <a:pt x="820497" y="2430628"/>
                  <a:pt x="820329" y="2430633"/>
                  <a:pt x="820161" y="2430686"/>
                </a:cubicBezTo>
                <a:cubicBezTo>
                  <a:pt x="769886" y="2783551"/>
                  <a:pt x="488847" y="3064328"/>
                  <a:pt x="129995" y="3123727"/>
                </a:cubicBezTo>
                <a:lnTo>
                  <a:pt x="129879" y="3124875"/>
                </a:lnTo>
                <a:cubicBezTo>
                  <a:pt x="124569" y="3125886"/>
                  <a:pt x="119240" y="3126834"/>
                  <a:pt x="113663" y="3126415"/>
                </a:cubicBezTo>
                <a:cubicBezTo>
                  <a:pt x="82491" y="3131969"/>
                  <a:pt x="50611" y="3134950"/>
                  <a:pt x="18236" y="3135477"/>
                </a:cubicBezTo>
                <a:lnTo>
                  <a:pt x="1118" y="3137103"/>
                </a:lnTo>
                <a:lnTo>
                  <a:pt x="1092" y="3136608"/>
                </a:lnTo>
                <a:lnTo>
                  <a:pt x="593" y="3136641"/>
                </a:lnTo>
                <a:cubicBezTo>
                  <a:pt x="27" y="3132839"/>
                  <a:pt x="0" y="3129023"/>
                  <a:pt x="0" y="3125201"/>
                </a:cubicBezTo>
                <a:cubicBezTo>
                  <a:pt x="0" y="3119519"/>
                  <a:pt x="58" y="3113850"/>
                  <a:pt x="1370" y="3108220"/>
                </a:cubicBezTo>
                <a:cubicBezTo>
                  <a:pt x="1328" y="3076892"/>
                  <a:pt x="3778" y="3046007"/>
                  <a:pt x="8835" y="3015763"/>
                </a:cubicBezTo>
                <a:lnTo>
                  <a:pt x="9375" y="3009073"/>
                </a:lnTo>
                <a:cubicBezTo>
                  <a:pt x="9543" y="3009068"/>
                  <a:pt x="9713" y="3009063"/>
                  <a:pt x="9880" y="3009010"/>
                </a:cubicBezTo>
                <a:cubicBezTo>
                  <a:pt x="60157" y="2656144"/>
                  <a:pt x="341196" y="2375367"/>
                  <a:pt x="700046" y="2315969"/>
                </a:cubicBezTo>
                <a:lnTo>
                  <a:pt x="700163" y="2314821"/>
                </a:lnTo>
                <a:cubicBezTo>
                  <a:pt x="705472" y="2313811"/>
                  <a:pt x="710800" y="2312863"/>
                  <a:pt x="716376" y="2313282"/>
                </a:cubicBezTo>
                <a:cubicBezTo>
                  <a:pt x="747559" y="2307725"/>
                  <a:pt x="779452" y="2304744"/>
                  <a:pt x="811837" y="2304217"/>
                </a:cubicBezTo>
                <a:close/>
                <a:moveTo>
                  <a:pt x="8305836" y="1608087"/>
                </a:moveTo>
                <a:cubicBezTo>
                  <a:pt x="8030646" y="1666766"/>
                  <a:pt x="7815802" y="1879876"/>
                  <a:pt x="7762527" y="2148655"/>
                </a:cubicBezTo>
                <a:cubicBezTo>
                  <a:pt x="8037717" y="2089976"/>
                  <a:pt x="8252560" y="1876866"/>
                  <a:pt x="8305836" y="1608087"/>
                </a:cubicBezTo>
                <a:close/>
                <a:moveTo>
                  <a:pt x="6911971" y="1608087"/>
                </a:moveTo>
                <a:cubicBezTo>
                  <a:pt x="6965247" y="1876866"/>
                  <a:pt x="7180090" y="2089976"/>
                  <a:pt x="7455280" y="2148655"/>
                </a:cubicBezTo>
                <a:cubicBezTo>
                  <a:pt x="7402005" y="1879876"/>
                  <a:pt x="7187161" y="1666766"/>
                  <a:pt x="6911971" y="1608087"/>
                </a:cubicBezTo>
                <a:close/>
                <a:moveTo>
                  <a:pt x="6613685" y="1608087"/>
                </a:moveTo>
                <a:cubicBezTo>
                  <a:pt x="6338495" y="1666766"/>
                  <a:pt x="6123651" y="1879876"/>
                  <a:pt x="6070376" y="2148655"/>
                </a:cubicBezTo>
                <a:cubicBezTo>
                  <a:pt x="6345566" y="2089976"/>
                  <a:pt x="6560409" y="1876866"/>
                  <a:pt x="6613685" y="1608087"/>
                </a:cubicBezTo>
                <a:close/>
                <a:moveTo>
                  <a:pt x="5219820" y="1608087"/>
                </a:moveTo>
                <a:cubicBezTo>
                  <a:pt x="5273096" y="1876866"/>
                  <a:pt x="5487939" y="2089976"/>
                  <a:pt x="5763129" y="2148655"/>
                </a:cubicBezTo>
                <a:cubicBezTo>
                  <a:pt x="5709854" y="1879876"/>
                  <a:pt x="5495010" y="1666766"/>
                  <a:pt x="5219820" y="1608087"/>
                </a:cubicBezTo>
                <a:close/>
                <a:moveTo>
                  <a:pt x="4921534" y="1608087"/>
                </a:moveTo>
                <a:cubicBezTo>
                  <a:pt x="4646344" y="1666766"/>
                  <a:pt x="4431500" y="1879876"/>
                  <a:pt x="4378225" y="2148655"/>
                </a:cubicBezTo>
                <a:cubicBezTo>
                  <a:pt x="4653415" y="2089976"/>
                  <a:pt x="4868259" y="1876866"/>
                  <a:pt x="4921534" y="1608087"/>
                </a:cubicBezTo>
                <a:close/>
                <a:moveTo>
                  <a:pt x="3527669" y="1608087"/>
                </a:moveTo>
                <a:cubicBezTo>
                  <a:pt x="3580945" y="1876866"/>
                  <a:pt x="3795788" y="2089976"/>
                  <a:pt x="4070978" y="2148655"/>
                </a:cubicBezTo>
                <a:cubicBezTo>
                  <a:pt x="4017703" y="1879876"/>
                  <a:pt x="3802859" y="1666766"/>
                  <a:pt x="3527669" y="1608087"/>
                </a:cubicBezTo>
                <a:close/>
                <a:moveTo>
                  <a:pt x="3229383" y="1608087"/>
                </a:moveTo>
                <a:cubicBezTo>
                  <a:pt x="2954193" y="1666766"/>
                  <a:pt x="2739349" y="1879876"/>
                  <a:pt x="2686074" y="2148655"/>
                </a:cubicBezTo>
                <a:cubicBezTo>
                  <a:pt x="2961264" y="2089976"/>
                  <a:pt x="3176107" y="1876866"/>
                  <a:pt x="3229383" y="1608087"/>
                </a:cubicBezTo>
                <a:close/>
                <a:moveTo>
                  <a:pt x="1835518" y="1608087"/>
                </a:moveTo>
                <a:cubicBezTo>
                  <a:pt x="1888794" y="1876866"/>
                  <a:pt x="2103637" y="2089976"/>
                  <a:pt x="2378827" y="2148655"/>
                </a:cubicBezTo>
                <a:cubicBezTo>
                  <a:pt x="2325552" y="1879876"/>
                  <a:pt x="2110708" y="1666766"/>
                  <a:pt x="1835518" y="1608087"/>
                </a:cubicBezTo>
                <a:close/>
                <a:moveTo>
                  <a:pt x="1537232" y="1608087"/>
                </a:moveTo>
                <a:cubicBezTo>
                  <a:pt x="1262042" y="1666766"/>
                  <a:pt x="1047198" y="1879876"/>
                  <a:pt x="993923" y="2148655"/>
                </a:cubicBezTo>
                <a:cubicBezTo>
                  <a:pt x="1269113" y="2089976"/>
                  <a:pt x="1483956" y="1876866"/>
                  <a:pt x="1537232" y="1608087"/>
                </a:cubicBezTo>
                <a:close/>
                <a:moveTo>
                  <a:pt x="143367" y="1608087"/>
                </a:moveTo>
                <a:cubicBezTo>
                  <a:pt x="196643" y="1876866"/>
                  <a:pt x="411486" y="2089976"/>
                  <a:pt x="686676" y="2148655"/>
                </a:cubicBezTo>
                <a:cubicBezTo>
                  <a:pt x="633401" y="1879876"/>
                  <a:pt x="418557" y="1666766"/>
                  <a:pt x="143367" y="1608087"/>
                </a:cubicBezTo>
                <a:close/>
                <a:moveTo>
                  <a:pt x="8461873" y="1464394"/>
                </a:moveTo>
                <a:lnTo>
                  <a:pt x="8478960" y="1466004"/>
                </a:lnTo>
                <a:cubicBezTo>
                  <a:pt x="8511346" y="1466527"/>
                  <a:pt x="8543239" y="1469485"/>
                  <a:pt x="8574422" y="1474998"/>
                </a:cubicBezTo>
                <a:cubicBezTo>
                  <a:pt x="8579998" y="1474582"/>
                  <a:pt x="8585326" y="1475523"/>
                  <a:pt x="8590635" y="1476525"/>
                </a:cubicBezTo>
                <a:lnTo>
                  <a:pt x="8590752" y="1477664"/>
                </a:lnTo>
                <a:cubicBezTo>
                  <a:pt x="8815033" y="1514497"/>
                  <a:pt x="9008920" y="1637126"/>
                  <a:pt x="9135069" y="1809390"/>
                </a:cubicBezTo>
                <a:lnTo>
                  <a:pt x="9139239" y="1816149"/>
                </a:lnTo>
                <a:lnTo>
                  <a:pt x="9139239" y="2119309"/>
                </a:lnTo>
                <a:lnTo>
                  <a:pt x="9120077" y="2050665"/>
                </a:lnTo>
                <a:cubicBezTo>
                  <a:pt x="9039502" y="1829012"/>
                  <a:pt x="8844913" y="1659431"/>
                  <a:pt x="8604122" y="1608087"/>
                </a:cubicBezTo>
                <a:cubicBezTo>
                  <a:pt x="8650738" y="1843269"/>
                  <a:pt x="8821055" y="2035829"/>
                  <a:pt x="9047261" y="2119605"/>
                </a:cubicBezTo>
                <a:lnTo>
                  <a:pt x="9139239" y="2146279"/>
                </a:lnTo>
                <a:lnTo>
                  <a:pt x="9139239" y="2273778"/>
                </a:lnTo>
                <a:lnTo>
                  <a:pt x="9030179" y="2246972"/>
                </a:lnTo>
                <a:cubicBezTo>
                  <a:pt x="8735297" y="2149386"/>
                  <a:pt x="8514628" y="1897812"/>
                  <a:pt x="8470637" y="1591480"/>
                </a:cubicBezTo>
                <a:cubicBezTo>
                  <a:pt x="8470469" y="1591427"/>
                  <a:pt x="8470301" y="1591423"/>
                  <a:pt x="8470131" y="1591418"/>
                </a:cubicBezTo>
                <a:lnTo>
                  <a:pt x="8469593" y="1584794"/>
                </a:lnTo>
                <a:cubicBezTo>
                  <a:pt x="8464534" y="1554782"/>
                  <a:pt x="8462083" y="1524133"/>
                  <a:pt x="8462126" y="1493044"/>
                </a:cubicBezTo>
                <a:cubicBezTo>
                  <a:pt x="8460814" y="1487460"/>
                  <a:pt x="8460755" y="1481838"/>
                  <a:pt x="8460755" y="1476202"/>
                </a:cubicBezTo>
                <a:lnTo>
                  <a:pt x="8461349" y="1464852"/>
                </a:lnTo>
                <a:lnTo>
                  <a:pt x="8461847" y="1464884"/>
                </a:lnTo>
                <a:close/>
                <a:moveTo>
                  <a:pt x="8448085" y="1464394"/>
                </a:moveTo>
                <a:lnTo>
                  <a:pt x="8448111" y="1464884"/>
                </a:lnTo>
                <a:lnTo>
                  <a:pt x="8448609" y="1464852"/>
                </a:lnTo>
                <a:lnTo>
                  <a:pt x="8449203" y="1476202"/>
                </a:lnTo>
                <a:cubicBezTo>
                  <a:pt x="8449203" y="1481838"/>
                  <a:pt x="8449144" y="1487460"/>
                  <a:pt x="8447832" y="1493044"/>
                </a:cubicBezTo>
                <a:cubicBezTo>
                  <a:pt x="8447875" y="1524133"/>
                  <a:pt x="8445424" y="1554782"/>
                  <a:pt x="8440365" y="1584794"/>
                </a:cubicBezTo>
                <a:lnTo>
                  <a:pt x="8439827" y="1591418"/>
                </a:lnTo>
                <a:cubicBezTo>
                  <a:pt x="8439657" y="1591423"/>
                  <a:pt x="8439489" y="1591427"/>
                  <a:pt x="8439321" y="1591480"/>
                </a:cubicBezTo>
                <a:cubicBezTo>
                  <a:pt x="8389046" y="1941574"/>
                  <a:pt x="8108007" y="2220146"/>
                  <a:pt x="7749156" y="2279078"/>
                </a:cubicBezTo>
                <a:lnTo>
                  <a:pt x="7749040" y="2280217"/>
                </a:lnTo>
                <a:cubicBezTo>
                  <a:pt x="7743729" y="2281220"/>
                  <a:pt x="7738400" y="2282161"/>
                  <a:pt x="7732823" y="2281745"/>
                </a:cubicBezTo>
                <a:cubicBezTo>
                  <a:pt x="7701651" y="2287255"/>
                  <a:pt x="7669771" y="2290213"/>
                  <a:pt x="7637396" y="2290736"/>
                </a:cubicBezTo>
                <a:lnTo>
                  <a:pt x="7620278" y="2292349"/>
                </a:lnTo>
                <a:lnTo>
                  <a:pt x="7620252" y="2291858"/>
                </a:lnTo>
                <a:lnTo>
                  <a:pt x="7619753" y="2291891"/>
                </a:lnTo>
                <a:cubicBezTo>
                  <a:pt x="7619187" y="2288119"/>
                  <a:pt x="7619160" y="2284333"/>
                  <a:pt x="7619160" y="2280541"/>
                </a:cubicBezTo>
                <a:cubicBezTo>
                  <a:pt x="7619160" y="2274903"/>
                  <a:pt x="7619219" y="2269279"/>
                  <a:pt x="7620531" y="2263693"/>
                </a:cubicBezTo>
                <a:cubicBezTo>
                  <a:pt x="7620488" y="2232611"/>
                  <a:pt x="7622938" y="2201969"/>
                  <a:pt x="7627995" y="2171962"/>
                </a:cubicBezTo>
                <a:lnTo>
                  <a:pt x="7628535" y="2165325"/>
                </a:lnTo>
                <a:cubicBezTo>
                  <a:pt x="7628704" y="2165320"/>
                  <a:pt x="7628873" y="2165315"/>
                  <a:pt x="7629040" y="2165262"/>
                </a:cubicBezTo>
                <a:cubicBezTo>
                  <a:pt x="7679317" y="1815167"/>
                  <a:pt x="7960356" y="1536596"/>
                  <a:pt x="8319206" y="1477664"/>
                </a:cubicBezTo>
                <a:lnTo>
                  <a:pt x="8319323" y="1476525"/>
                </a:lnTo>
                <a:cubicBezTo>
                  <a:pt x="8324632" y="1475523"/>
                  <a:pt x="8329960" y="1474582"/>
                  <a:pt x="8335536" y="1474998"/>
                </a:cubicBezTo>
                <a:cubicBezTo>
                  <a:pt x="8366719" y="1469485"/>
                  <a:pt x="8398612" y="1466527"/>
                  <a:pt x="8430998" y="1466004"/>
                </a:cubicBezTo>
                <a:close/>
                <a:moveTo>
                  <a:pt x="6769722" y="1464394"/>
                </a:moveTo>
                <a:lnTo>
                  <a:pt x="6786810" y="1466004"/>
                </a:lnTo>
                <a:cubicBezTo>
                  <a:pt x="6819195" y="1466527"/>
                  <a:pt x="6851088" y="1469485"/>
                  <a:pt x="6882271" y="1474998"/>
                </a:cubicBezTo>
                <a:cubicBezTo>
                  <a:pt x="6887847" y="1474582"/>
                  <a:pt x="6893175" y="1475523"/>
                  <a:pt x="6898484" y="1476525"/>
                </a:cubicBezTo>
                <a:lnTo>
                  <a:pt x="6898601" y="1477664"/>
                </a:lnTo>
                <a:cubicBezTo>
                  <a:pt x="7257451" y="1536596"/>
                  <a:pt x="7538490" y="1815167"/>
                  <a:pt x="7588766" y="2165262"/>
                </a:cubicBezTo>
                <a:cubicBezTo>
                  <a:pt x="7588934" y="2165315"/>
                  <a:pt x="7589103" y="2165320"/>
                  <a:pt x="7589272" y="2165325"/>
                </a:cubicBezTo>
                <a:lnTo>
                  <a:pt x="7589812" y="2171962"/>
                </a:lnTo>
                <a:cubicBezTo>
                  <a:pt x="7594869" y="2201969"/>
                  <a:pt x="7597319" y="2232611"/>
                  <a:pt x="7597276" y="2263693"/>
                </a:cubicBezTo>
                <a:cubicBezTo>
                  <a:pt x="7598588" y="2269279"/>
                  <a:pt x="7598647" y="2274903"/>
                  <a:pt x="7598647" y="2280541"/>
                </a:cubicBezTo>
                <a:cubicBezTo>
                  <a:pt x="7598647" y="2284333"/>
                  <a:pt x="7598620" y="2288119"/>
                  <a:pt x="7598054" y="2291891"/>
                </a:cubicBezTo>
                <a:lnTo>
                  <a:pt x="7597555" y="2291858"/>
                </a:lnTo>
                <a:lnTo>
                  <a:pt x="7597529" y="2292349"/>
                </a:lnTo>
                <a:lnTo>
                  <a:pt x="7580411" y="2290736"/>
                </a:lnTo>
                <a:cubicBezTo>
                  <a:pt x="7548036" y="2290213"/>
                  <a:pt x="7516156" y="2287255"/>
                  <a:pt x="7484984" y="2281745"/>
                </a:cubicBezTo>
                <a:cubicBezTo>
                  <a:pt x="7479407" y="2282161"/>
                  <a:pt x="7474078" y="2281220"/>
                  <a:pt x="7468767" y="2280217"/>
                </a:cubicBezTo>
                <a:lnTo>
                  <a:pt x="7468651" y="2279078"/>
                </a:lnTo>
                <a:cubicBezTo>
                  <a:pt x="7109800" y="2220146"/>
                  <a:pt x="6828761" y="1941574"/>
                  <a:pt x="6778486" y="1591480"/>
                </a:cubicBezTo>
                <a:cubicBezTo>
                  <a:pt x="6778318" y="1591427"/>
                  <a:pt x="6778150" y="1591423"/>
                  <a:pt x="6777980" y="1591418"/>
                </a:cubicBezTo>
                <a:lnTo>
                  <a:pt x="6777442" y="1584794"/>
                </a:lnTo>
                <a:cubicBezTo>
                  <a:pt x="6772383" y="1554782"/>
                  <a:pt x="6769933" y="1524133"/>
                  <a:pt x="6769975" y="1493044"/>
                </a:cubicBezTo>
                <a:cubicBezTo>
                  <a:pt x="6768663" y="1487460"/>
                  <a:pt x="6768604" y="1481838"/>
                  <a:pt x="6768604" y="1476202"/>
                </a:cubicBezTo>
                <a:lnTo>
                  <a:pt x="6769198" y="1464852"/>
                </a:lnTo>
                <a:lnTo>
                  <a:pt x="6769696" y="1464884"/>
                </a:lnTo>
                <a:close/>
                <a:moveTo>
                  <a:pt x="6755934" y="1464394"/>
                </a:moveTo>
                <a:lnTo>
                  <a:pt x="6755960" y="1464884"/>
                </a:lnTo>
                <a:lnTo>
                  <a:pt x="6756458" y="1464852"/>
                </a:lnTo>
                <a:lnTo>
                  <a:pt x="6757052" y="1476202"/>
                </a:lnTo>
                <a:cubicBezTo>
                  <a:pt x="6757052" y="1481838"/>
                  <a:pt x="6756994" y="1487460"/>
                  <a:pt x="6755682" y="1493044"/>
                </a:cubicBezTo>
                <a:cubicBezTo>
                  <a:pt x="6755724" y="1524133"/>
                  <a:pt x="6753273" y="1554782"/>
                  <a:pt x="6748215" y="1584794"/>
                </a:cubicBezTo>
                <a:lnTo>
                  <a:pt x="6747676" y="1591418"/>
                </a:lnTo>
                <a:cubicBezTo>
                  <a:pt x="6747507" y="1591423"/>
                  <a:pt x="6747338" y="1591427"/>
                  <a:pt x="6747171" y="1591480"/>
                </a:cubicBezTo>
                <a:cubicBezTo>
                  <a:pt x="6696895" y="1941574"/>
                  <a:pt x="6415856" y="2220146"/>
                  <a:pt x="6057005" y="2279078"/>
                </a:cubicBezTo>
                <a:lnTo>
                  <a:pt x="6056889" y="2280217"/>
                </a:lnTo>
                <a:cubicBezTo>
                  <a:pt x="6051578" y="2281220"/>
                  <a:pt x="6046249" y="2282161"/>
                  <a:pt x="6040672" y="2281745"/>
                </a:cubicBezTo>
                <a:cubicBezTo>
                  <a:pt x="6009500" y="2287255"/>
                  <a:pt x="5977620" y="2290213"/>
                  <a:pt x="5945246" y="2290736"/>
                </a:cubicBezTo>
                <a:lnTo>
                  <a:pt x="5928127" y="2292349"/>
                </a:lnTo>
                <a:lnTo>
                  <a:pt x="5928101" y="2291858"/>
                </a:lnTo>
                <a:lnTo>
                  <a:pt x="5927602" y="2291891"/>
                </a:lnTo>
                <a:cubicBezTo>
                  <a:pt x="5927036" y="2288119"/>
                  <a:pt x="5927009" y="2284333"/>
                  <a:pt x="5927009" y="2280541"/>
                </a:cubicBezTo>
                <a:cubicBezTo>
                  <a:pt x="5927009" y="2274903"/>
                  <a:pt x="5927068" y="2269279"/>
                  <a:pt x="5928380" y="2263693"/>
                </a:cubicBezTo>
                <a:cubicBezTo>
                  <a:pt x="5928338" y="2232611"/>
                  <a:pt x="5930787" y="2201969"/>
                  <a:pt x="5935844" y="2171962"/>
                </a:cubicBezTo>
                <a:lnTo>
                  <a:pt x="5936384" y="2165325"/>
                </a:lnTo>
                <a:cubicBezTo>
                  <a:pt x="5936553" y="2165320"/>
                  <a:pt x="5936722" y="2165315"/>
                  <a:pt x="5936890" y="2165262"/>
                </a:cubicBezTo>
                <a:cubicBezTo>
                  <a:pt x="5987166" y="1815167"/>
                  <a:pt x="6268205" y="1536596"/>
                  <a:pt x="6627056" y="1477664"/>
                </a:cubicBezTo>
                <a:lnTo>
                  <a:pt x="6627173" y="1476525"/>
                </a:lnTo>
                <a:cubicBezTo>
                  <a:pt x="6632481" y="1475523"/>
                  <a:pt x="6637809" y="1474582"/>
                  <a:pt x="6643385" y="1474998"/>
                </a:cubicBezTo>
                <a:cubicBezTo>
                  <a:pt x="6674569" y="1469485"/>
                  <a:pt x="6706461" y="1466527"/>
                  <a:pt x="6738847" y="1466004"/>
                </a:cubicBezTo>
                <a:close/>
                <a:moveTo>
                  <a:pt x="5077571" y="1464394"/>
                </a:moveTo>
                <a:lnTo>
                  <a:pt x="5094659" y="1466004"/>
                </a:lnTo>
                <a:cubicBezTo>
                  <a:pt x="5127044" y="1466527"/>
                  <a:pt x="5158937" y="1469485"/>
                  <a:pt x="5190120" y="1474998"/>
                </a:cubicBezTo>
                <a:cubicBezTo>
                  <a:pt x="5195696" y="1474582"/>
                  <a:pt x="5201024" y="1475523"/>
                  <a:pt x="5206334" y="1476525"/>
                </a:cubicBezTo>
                <a:lnTo>
                  <a:pt x="5206450" y="1477664"/>
                </a:lnTo>
                <a:cubicBezTo>
                  <a:pt x="5565300" y="1536596"/>
                  <a:pt x="5846339" y="1815167"/>
                  <a:pt x="5896616" y="2165262"/>
                </a:cubicBezTo>
                <a:cubicBezTo>
                  <a:pt x="5896783" y="2165315"/>
                  <a:pt x="5896953" y="2165320"/>
                  <a:pt x="5897121" y="2165325"/>
                </a:cubicBezTo>
                <a:lnTo>
                  <a:pt x="5897662" y="2171962"/>
                </a:lnTo>
                <a:cubicBezTo>
                  <a:pt x="5902718" y="2201969"/>
                  <a:pt x="5905168" y="2232611"/>
                  <a:pt x="5905126" y="2263693"/>
                </a:cubicBezTo>
                <a:cubicBezTo>
                  <a:pt x="5906438" y="2269279"/>
                  <a:pt x="5906496" y="2274903"/>
                  <a:pt x="5906496" y="2280541"/>
                </a:cubicBezTo>
                <a:cubicBezTo>
                  <a:pt x="5906496" y="2284333"/>
                  <a:pt x="5906469" y="2288119"/>
                  <a:pt x="5905903" y="2291891"/>
                </a:cubicBezTo>
                <a:lnTo>
                  <a:pt x="5905404" y="2291858"/>
                </a:lnTo>
                <a:lnTo>
                  <a:pt x="5905378" y="2292349"/>
                </a:lnTo>
                <a:lnTo>
                  <a:pt x="5888260" y="2290736"/>
                </a:lnTo>
                <a:cubicBezTo>
                  <a:pt x="5855886" y="2290213"/>
                  <a:pt x="5824005" y="2287255"/>
                  <a:pt x="5792833" y="2281745"/>
                </a:cubicBezTo>
                <a:cubicBezTo>
                  <a:pt x="5787256" y="2282161"/>
                  <a:pt x="5781927" y="2281220"/>
                  <a:pt x="5776617" y="2280217"/>
                </a:cubicBezTo>
                <a:lnTo>
                  <a:pt x="5776501" y="2279078"/>
                </a:lnTo>
                <a:cubicBezTo>
                  <a:pt x="5417649" y="2220146"/>
                  <a:pt x="5136610" y="1941574"/>
                  <a:pt x="5086335" y="1591480"/>
                </a:cubicBezTo>
                <a:cubicBezTo>
                  <a:pt x="5086167" y="1591427"/>
                  <a:pt x="5085999" y="1591423"/>
                  <a:pt x="5085830" y="1591418"/>
                </a:cubicBezTo>
                <a:lnTo>
                  <a:pt x="5085291" y="1584794"/>
                </a:lnTo>
                <a:cubicBezTo>
                  <a:pt x="5080233" y="1554782"/>
                  <a:pt x="5077782" y="1524133"/>
                  <a:pt x="5077824" y="1493044"/>
                </a:cubicBezTo>
                <a:cubicBezTo>
                  <a:pt x="5076512" y="1487460"/>
                  <a:pt x="5076453" y="1481838"/>
                  <a:pt x="5076453" y="1476202"/>
                </a:cubicBezTo>
                <a:lnTo>
                  <a:pt x="5077047" y="1464852"/>
                </a:lnTo>
                <a:lnTo>
                  <a:pt x="5077545" y="1464884"/>
                </a:lnTo>
                <a:close/>
                <a:moveTo>
                  <a:pt x="5063783" y="1464394"/>
                </a:moveTo>
                <a:lnTo>
                  <a:pt x="5063809" y="1464884"/>
                </a:lnTo>
                <a:lnTo>
                  <a:pt x="5064307" y="1464852"/>
                </a:lnTo>
                <a:lnTo>
                  <a:pt x="5064902" y="1476202"/>
                </a:lnTo>
                <a:cubicBezTo>
                  <a:pt x="5064902" y="1481838"/>
                  <a:pt x="5064842" y="1487460"/>
                  <a:pt x="5063530" y="1493044"/>
                </a:cubicBezTo>
                <a:cubicBezTo>
                  <a:pt x="5063572" y="1524133"/>
                  <a:pt x="5061122" y="1554782"/>
                  <a:pt x="5056063" y="1584794"/>
                </a:cubicBezTo>
                <a:lnTo>
                  <a:pt x="5055525" y="1591418"/>
                </a:lnTo>
                <a:cubicBezTo>
                  <a:pt x="5055355" y="1591423"/>
                  <a:pt x="5055187" y="1591427"/>
                  <a:pt x="5055019" y="1591480"/>
                </a:cubicBezTo>
                <a:cubicBezTo>
                  <a:pt x="5004744" y="1941574"/>
                  <a:pt x="4723705" y="2220146"/>
                  <a:pt x="4364853" y="2279078"/>
                </a:cubicBezTo>
                <a:lnTo>
                  <a:pt x="4364737" y="2280217"/>
                </a:lnTo>
                <a:cubicBezTo>
                  <a:pt x="4359427" y="2281220"/>
                  <a:pt x="4354098" y="2282161"/>
                  <a:pt x="4348521" y="2281745"/>
                </a:cubicBezTo>
                <a:cubicBezTo>
                  <a:pt x="4317350" y="2287255"/>
                  <a:pt x="4285468" y="2290213"/>
                  <a:pt x="4253094" y="2290736"/>
                </a:cubicBezTo>
                <a:lnTo>
                  <a:pt x="4235976" y="2292349"/>
                </a:lnTo>
                <a:lnTo>
                  <a:pt x="4235950" y="2291858"/>
                </a:lnTo>
                <a:lnTo>
                  <a:pt x="4235451" y="2291891"/>
                </a:lnTo>
                <a:cubicBezTo>
                  <a:pt x="4234885" y="2288119"/>
                  <a:pt x="4234858" y="2284333"/>
                  <a:pt x="4234858" y="2280541"/>
                </a:cubicBezTo>
                <a:cubicBezTo>
                  <a:pt x="4234858" y="2274903"/>
                  <a:pt x="4234916" y="2269279"/>
                  <a:pt x="4236228" y="2263693"/>
                </a:cubicBezTo>
                <a:cubicBezTo>
                  <a:pt x="4236186" y="2232611"/>
                  <a:pt x="4238636" y="2201969"/>
                  <a:pt x="4243692" y="2171962"/>
                </a:cubicBezTo>
                <a:lnTo>
                  <a:pt x="4244233" y="2165325"/>
                </a:lnTo>
                <a:cubicBezTo>
                  <a:pt x="4244401" y="2165320"/>
                  <a:pt x="4244571" y="2165315"/>
                  <a:pt x="4244738" y="2165262"/>
                </a:cubicBezTo>
                <a:cubicBezTo>
                  <a:pt x="4295015" y="1815167"/>
                  <a:pt x="4576054" y="1536596"/>
                  <a:pt x="4934904" y="1477664"/>
                </a:cubicBezTo>
                <a:lnTo>
                  <a:pt x="4935021" y="1476525"/>
                </a:lnTo>
                <a:cubicBezTo>
                  <a:pt x="4940330" y="1475523"/>
                  <a:pt x="4945658" y="1474582"/>
                  <a:pt x="4951234" y="1474998"/>
                </a:cubicBezTo>
                <a:cubicBezTo>
                  <a:pt x="4982417" y="1469485"/>
                  <a:pt x="5014310" y="1466527"/>
                  <a:pt x="5046695" y="1466004"/>
                </a:cubicBezTo>
                <a:close/>
                <a:moveTo>
                  <a:pt x="3385420" y="1464394"/>
                </a:moveTo>
                <a:lnTo>
                  <a:pt x="3402507" y="1466004"/>
                </a:lnTo>
                <a:cubicBezTo>
                  <a:pt x="3434893" y="1466527"/>
                  <a:pt x="3466785" y="1469485"/>
                  <a:pt x="3497969" y="1474998"/>
                </a:cubicBezTo>
                <a:cubicBezTo>
                  <a:pt x="3503545" y="1474582"/>
                  <a:pt x="3508873" y="1475523"/>
                  <a:pt x="3514181" y="1476525"/>
                </a:cubicBezTo>
                <a:lnTo>
                  <a:pt x="3514298" y="1477664"/>
                </a:lnTo>
                <a:cubicBezTo>
                  <a:pt x="3873149" y="1536596"/>
                  <a:pt x="4154188" y="1815167"/>
                  <a:pt x="4204464" y="2165262"/>
                </a:cubicBezTo>
                <a:cubicBezTo>
                  <a:pt x="4204632" y="2165315"/>
                  <a:pt x="4204801" y="2165320"/>
                  <a:pt x="4204970" y="2165325"/>
                </a:cubicBezTo>
                <a:lnTo>
                  <a:pt x="4205510" y="2171962"/>
                </a:lnTo>
                <a:cubicBezTo>
                  <a:pt x="4210567" y="2201969"/>
                  <a:pt x="4213016" y="2232611"/>
                  <a:pt x="4212974" y="2263693"/>
                </a:cubicBezTo>
                <a:cubicBezTo>
                  <a:pt x="4214286" y="2269279"/>
                  <a:pt x="4214345" y="2274903"/>
                  <a:pt x="4214345" y="2280541"/>
                </a:cubicBezTo>
                <a:cubicBezTo>
                  <a:pt x="4214345" y="2284333"/>
                  <a:pt x="4214318" y="2288119"/>
                  <a:pt x="4213752" y="2291891"/>
                </a:cubicBezTo>
                <a:lnTo>
                  <a:pt x="4213253" y="2291858"/>
                </a:lnTo>
                <a:lnTo>
                  <a:pt x="4213227" y="2292349"/>
                </a:lnTo>
                <a:lnTo>
                  <a:pt x="4196108" y="2290736"/>
                </a:lnTo>
                <a:cubicBezTo>
                  <a:pt x="4163734" y="2290213"/>
                  <a:pt x="4131854" y="2287255"/>
                  <a:pt x="4100682" y="2281745"/>
                </a:cubicBezTo>
                <a:cubicBezTo>
                  <a:pt x="4095105" y="2282161"/>
                  <a:pt x="4089776" y="2281220"/>
                  <a:pt x="4084465" y="2280217"/>
                </a:cubicBezTo>
                <a:lnTo>
                  <a:pt x="4084349" y="2279078"/>
                </a:lnTo>
                <a:cubicBezTo>
                  <a:pt x="3725498" y="2220146"/>
                  <a:pt x="3444459" y="1941574"/>
                  <a:pt x="3394183" y="1591480"/>
                </a:cubicBezTo>
                <a:cubicBezTo>
                  <a:pt x="3394016" y="1591427"/>
                  <a:pt x="3393847" y="1591423"/>
                  <a:pt x="3393678" y="1591418"/>
                </a:cubicBezTo>
                <a:lnTo>
                  <a:pt x="3393139" y="1584794"/>
                </a:lnTo>
                <a:cubicBezTo>
                  <a:pt x="3388081" y="1554782"/>
                  <a:pt x="3385630" y="1524133"/>
                  <a:pt x="3385672" y="1493044"/>
                </a:cubicBezTo>
                <a:cubicBezTo>
                  <a:pt x="3384360" y="1487460"/>
                  <a:pt x="3384302" y="1481838"/>
                  <a:pt x="3384302" y="1476202"/>
                </a:cubicBezTo>
                <a:lnTo>
                  <a:pt x="3384896" y="1464852"/>
                </a:lnTo>
                <a:lnTo>
                  <a:pt x="3385394" y="1464884"/>
                </a:lnTo>
                <a:close/>
                <a:moveTo>
                  <a:pt x="3371632" y="1464394"/>
                </a:moveTo>
                <a:lnTo>
                  <a:pt x="3371658" y="1464884"/>
                </a:lnTo>
                <a:lnTo>
                  <a:pt x="3372156" y="1464852"/>
                </a:lnTo>
                <a:lnTo>
                  <a:pt x="3372750" y="1476202"/>
                </a:lnTo>
                <a:cubicBezTo>
                  <a:pt x="3372750" y="1481838"/>
                  <a:pt x="3372691" y="1487460"/>
                  <a:pt x="3371379" y="1493044"/>
                </a:cubicBezTo>
                <a:cubicBezTo>
                  <a:pt x="3371421" y="1524133"/>
                  <a:pt x="3368971" y="1554782"/>
                  <a:pt x="3363912" y="1584794"/>
                </a:cubicBezTo>
                <a:lnTo>
                  <a:pt x="3363374" y="1591418"/>
                </a:lnTo>
                <a:cubicBezTo>
                  <a:pt x="3363204" y="1591423"/>
                  <a:pt x="3363036" y="1591427"/>
                  <a:pt x="3362868" y="1591480"/>
                </a:cubicBezTo>
                <a:cubicBezTo>
                  <a:pt x="3312593" y="1941574"/>
                  <a:pt x="3031554" y="2220146"/>
                  <a:pt x="2672703" y="2279078"/>
                </a:cubicBezTo>
                <a:lnTo>
                  <a:pt x="2672586" y="2280217"/>
                </a:lnTo>
                <a:cubicBezTo>
                  <a:pt x="2667276" y="2281220"/>
                  <a:pt x="2661947" y="2282161"/>
                  <a:pt x="2656370" y="2281745"/>
                </a:cubicBezTo>
                <a:cubicBezTo>
                  <a:pt x="2625198" y="2287255"/>
                  <a:pt x="2593318" y="2290213"/>
                  <a:pt x="2560943" y="2290736"/>
                </a:cubicBezTo>
                <a:lnTo>
                  <a:pt x="2543825" y="2292349"/>
                </a:lnTo>
                <a:lnTo>
                  <a:pt x="2543799" y="2291858"/>
                </a:lnTo>
                <a:lnTo>
                  <a:pt x="2543300" y="2291891"/>
                </a:lnTo>
                <a:cubicBezTo>
                  <a:pt x="2542734" y="2288119"/>
                  <a:pt x="2542707" y="2284333"/>
                  <a:pt x="2542707" y="2280541"/>
                </a:cubicBezTo>
                <a:cubicBezTo>
                  <a:pt x="2542707" y="2274903"/>
                  <a:pt x="2542765" y="2269279"/>
                  <a:pt x="2544077" y="2263693"/>
                </a:cubicBezTo>
                <a:cubicBezTo>
                  <a:pt x="2544035" y="2232611"/>
                  <a:pt x="2546485" y="2201969"/>
                  <a:pt x="2551541" y="2171962"/>
                </a:cubicBezTo>
                <a:lnTo>
                  <a:pt x="2552082" y="2165325"/>
                </a:lnTo>
                <a:cubicBezTo>
                  <a:pt x="2552250" y="2165320"/>
                  <a:pt x="2552420" y="2165315"/>
                  <a:pt x="2552587" y="2165262"/>
                </a:cubicBezTo>
                <a:cubicBezTo>
                  <a:pt x="2602864" y="1815167"/>
                  <a:pt x="2883903" y="1536596"/>
                  <a:pt x="3242753" y="1477664"/>
                </a:cubicBezTo>
                <a:lnTo>
                  <a:pt x="3242870" y="1476525"/>
                </a:lnTo>
                <a:cubicBezTo>
                  <a:pt x="3248179" y="1475523"/>
                  <a:pt x="3253507" y="1474582"/>
                  <a:pt x="3259083" y="1474998"/>
                </a:cubicBezTo>
                <a:cubicBezTo>
                  <a:pt x="3290266" y="1469485"/>
                  <a:pt x="3322159" y="1466527"/>
                  <a:pt x="3354544" y="1466004"/>
                </a:cubicBezTo>
                <a:close/>
                <a:moveTo>
                  <a:pt x="1693269" y="1464394"/>
                </a:moveTo>
                <a:lnTo>
                  <a:pt x="1710356" y="1466004"/>
                </a:lnTo>
                <a:cubicBezTo>
                  <a:pt x="1742742" y="1466527"/>
                  <a:pt x="1774634" y="1469485"/>
                  <a:pt x="1805818" y="1474998"/>
                </a:cubicBezTo>
                <a:cubicBezTo>
                  <a:pt x="1811394" y="1474582"/>
                  <a:pt x="1816722" y="1475523"/>
                  <a:pt x="1822030" y="1476525"/>
                </a:cubicBezTo>
                <a:lnTo>
                  <a:pt x="1822148" y="1477664"/>
                </a:lnTo>
                <a:cubicBezTo>
                  <a:pt x="2180998" y="1536596"/>
                  <a:pt x="2462037" y="1815167"/>
                  <a:pt x="2512313" y="2165262"/>
                </a:cubicBezTo>
                <a:cubicBezTo>
                  <a:pt x="2512481" y="2165315"/>
                  <a:pt x="2512650" y="2165320"/>
                  <a:pt x="2512819" y="2165325"/>
                </a:cubicBezTo>
                <a:lnTo>
                  <a:pt x="2513359" y="2171962"/>
                </a:lnTo>
                <a:cubicBezTo>
                  <a:pt x="2518416" y="2201969"/>
                  <a:pt x="2520865" y="2232611"/>
                  <a:pt x="2520823" y="2263693"/>
                </a:cubicBezTo>
                <a:cubicBezTo>
                  <a:pt x="2522135" y="2269279"/>
                  <a:pt x="2522194" y="2274903"/>
                  <a:pt x="2522194" y="2280541"/>
                </a:cubicBezTo>
                <a:cubicBezTo>
                  <a:pt x="2522194" y="2284333"/>
                  <a:pt x="2522167" y="2288119"/>
                  <a:pt x="2521601" y="2291891"/>
                </a:cubicBezTo>
                <a:lnTo>
                  <a:pt x="2521102" y="2291858"/>
                </a:lnTo>
                <a:lnTo>
                  <a:pt x="2521076" y="2292349"/>
                </a:lnTo>
                <a:lnTo>
                  <a:pt x="2503957" y="2290736"/>
                </a:lnTo>
                <a:cubicBezTo>
                  <a:pt x="2471583" y="2290213"/>
                  <a:pt x="2439703" y="2287255"/>
                  <a:pt x="2408531" y="2281745"/>
                </a:cubicBezTo>
                <a:cubicBezTo>
                  <a:pt x="2402954" y="2282161"/>
                  <a:pt x="2397625" y="2281220"/>
                  <a:pt x="2392314" y="2280217"/>
                </a:cubicBezTo>
                <a:lnTo>
                  <a:pt x="2392198" y="2279078"/>
                </a:lnTo>
                <a:cubicBezTo>
                  <a:pt x="2033347" y="2220146"/>
                  <a:pt x="1752308" y="1941574"/>
                  <a:pt x="1702032" y="1591480"/>
                </a:cubicBezTo>
                <a:cubicBezTo>
                  <a:pt x="1701865" y="1591427"/>
                  <a:pt x="1701696" y="1591423"/>
                  <a:pt x="1701527" y="1591418"/>
                </a:cubicBezTo>
                <a:lnTo>
                  <a:pt x="1700989" y="1584794"/>
                </a:lnTo>
                <a:cubicBezTo>
                  <a:pt x="1695930" y="1554782"/>
                  <a:pt x="1693479" y="1524133"/>
                  <a:pt x="1693521" y="1493044"/>
                </a:cubicBezTo>
                <a:cubicBezTo>
                  <a:pt x="1692209" y="1487460"/>
                  <a:pt x="1692151" y="1481838"/>
                  <a:pt x="1692151" y="1476202"/>
                </a:cubicBezTo>
                <a:lnTo>
                  <a:pt x="1692745" y="1464852"/>
                </a:lnTo>
                <a:lnTo>
                  <a:pt x="1693243" y="1464884"/>
                </a:lnTo>
                <a:close/>
                <a:moveTo>
                  <a:pt x="1679481" y="1464394"/>
                </a:moveTo>
                <a:lnTo>
                  <a:pt x="1679507" y="1464884"/>
                </a:lnTo>
                <a:lnTo>
                  <a:pt x="1680005" y="1464852"/>
                </a:lnTo>
                <a:lnTo>
                  <a:pt x="1680599" y="1476202"/>
                </a:lnTo>
                <a:cubicBezTo>
                  <a:pt x="1680599" y="1481838"/>
                  <a:pt x="1680540" y="1487460"/>
                  <a:pt x="1679228" y="1493044"/>
                </a:cubicBezTo>
                <a:cubicBezTo>
                  <a:pt x="1679270" y="1524133"/>
                  <a:pt x="1676820" y="1554782"/>
                  <a:pt x="1671761" y="1584794"/>
                </a:cubicBezTo>
                <a:lnTo>
                  <a:pt x="1671223" y="1591418"/>
                </a:lnTo>
                <a:cubicBezTo>
                  <a:pt x="1671053" y="1591423"/>
                  <a:pt x="1670885" y="1591427"/>
                  <a:pt x="1670717" y="1591480"/>
                </a:cubicBezTo>
                <a:cubicBezTo>
                  <a:pt x="1620442" y="1941574"/>
                  <a:pt x="1339403" y="2220146"/>
                  <a:pt x="980552" y="2279078"/>
                </a:cubicBezTo>
                <a:lnTo>
                  <a:pt x="980435" y="2280217"/>
                </a:lnTo>
                <a:cubicBezTo>
                  <a:pt x="975125" y="2281220"/>
                  <a:pt x="969796" y="2282161"/>
                  <a:pt x="964219" y="2281745"/>
                </a:cubicBezTo>
                <a:cubicBezTo>
                  <a:pt x="933047" y="2287255"/>
                  <a:pt x="901167" y="2290213"/>
                  <a:pt x="868792" y="2290736"/>
                </a:cubicBezTo>
                <a:lnTo>
                  <a:pt x="851674" y="2292349"/>
                </a:lnTo>
                <a:lnTo>
                  <a:pt x="851648" y="2291858"/>
                </a:lnTo>
                <a:lnTo>
                  <a:pt x="851149" y="2291891"/>
                </a:lnTo>
                <a:cubicBezTo>
                  <a:pt x="850583" y="2288119"/>
                  <a:pt x="850556" y="2284333"/>
                  <a:pt x="850556" y="2280541"/>
                </a:cubicBezTo>
                <a:cubicBezTo>
                  <a:pt x="850556" y="2274903"/>
                  <a:pt x="850614" y="2269279"/>
                  <a:pt x="851926" y="2263693"/>
                </a:cubicBezTo>
                <a:cubicBezTo>
                  <a:pt x="851884" y="2232611"/>
                  <a:pt x="854334" y="2201969"/>
                  <a:pt x="859390" y="2171962"/>
                </a:cubicBezTo>
                <a:lnTo>
                  <a:pt x="859931" y="2165325"/>
                </a:lnTo>
                <a:cubicBezTo>
                  <a:pt x="860099" y="2165320"/>
                  <a:pt x="860269" y="2165315"/>
                  <a:pt x="860436" y="2165262"/>
                </a:cubicBezTo>
                <a:cubicBezTo>
                  <a:pt x="910713" y="1815167"/>
                  <a:pt x="1191752" y="1536596"/>
                  <a:pt x="1550602" y="1477664"/>
                </a:cubicBezTo>
                <a:lnTo>
                  <a:pt x="1550719" y="1476525"/>
                </a:lnTo>
                <a:cubicBezTo>
                  <a:pt x="1556028" y="1475523"/>
                  <a:pt x="1561356" y="1474582"/>
                  <a:pt x="1566932" y="1474998"/>
                </a:cubicBezTo>
                <a:cubicBezTo>
                  <a:pt x="1598115" y="1469485"/>
                  <a:pt x="1630008" y="1466527"/>
                  <a:pt x="1662393" y="1466004"/>
                </a:cubicBezTo>
                <a:close/>
                <a:moveTo>
                  <a:pt x="1118" y="1464394"/>
                </a:moveTo>
                <a:lnTo>
                  <a:pt x="18205" y="1466004"/>
                </a:lnTo>
                <a:cubicBezTo>
                  <a:pt x="50591" y="1466527"/>
                  <a:pt x="82483" y="1469485"/>
                  <a:pt x="113667" y="1474998"/>
                </a:cubicBezTo>
                <a:cubicBezTo>
                  <a:pt x="119243" y="1474582"/>
                  <a:pt x="124571" y="1475523"/>
                  <a:pt x="129879" y="1476525"/>
                </a:cubicBezTo>
                <a:lnTo>
                  <a:pt x="129997" y="1477664"/>
                </a:lnTo>
                <a:cubicBezTo>
                  <a:pt x="488847" y="1536596"/>
                  <a:pt x="769886" y="1815167"/>
                  <a:pt x="820162" y="2165262"/>
                </a:cubicBezTo>
                <a:cubicBezTo>
                  <a:pt x="820330" y="2165315"/>
                  <a:pt x="820499" y="2165320"/>
                  <a:pt x="820668" y="2165325"/>
                </a:cubicBezTo>
                <a:lnTo>
                  <a:pt x="821208" y="2171962"/>
                </a:lnTo>
                <a:cubicBezTo>
                  <a:pt x="826265" y="2201969"/>
                  <a:pt x="828714" y="2232611"/>
                  <a:pt x="828672" y="2263693"/>
                </a:cubicBezTo>
                <a:cubicBezTo>
                  <a:pt x="829984" y="2269279"/>
                  <a:pt x="830043" y="2274903"/>
                  <a:pt x="830043" y="2280541"/>
                </a:cubicBezTo>
                <a:cubicBezTo>
                  <a:pt x="830043" y="2284333"/>
                  <a:pt x="830016" y="2288119"/>
                  <a:pt x="829450" y="2291891"/>
                </a:cubicBezTo>
                <a:lnTo>
                  <a:pt x="828951" y="2291858"/>
                </a:lnTo>
                <a:lnTo>
                  <a:pt x="828925" y="2292349"/>
                </a:lnTo>
                <a:lnTo>
                  <a:pt x="811806" y="2290736"/>
                </a:lnTo>
                <a:cubicBezTo>
                  <a:pt x="779432" y="2290213"/>
                  <a:pt x="747552" y="2287255"/>
                  <a:pt x="716380" y="2281745"/>
                </a:cubicBezTo>
                <a:cubicBezTo>
                  <a:pt x="710803" y="2282161"/>
                  <a:pt x="705474" y="2281220"/>
                  <a:pt x="700163" y="2280217"/>
                </a:cubicBezTo>
                <a:lnTo>
                  <a:pt x="700047" y="2279078"/>
                </a:lnTo>
                <a:cubicBezTo>
                  <a:pt x="341196" y="2220146"/>
                  <a:pt x="60157" y="1941574"/>
                  <a:pt x="9881" y="1591480"/>
                </a:cubicBezTo>
                <a:cubicBezTo>
                  <a:pt x="9714" y="1591427"/>
                  <a:pt x="9545" y="1591423"/>
                  <a:pt x="9376" y="1591418"/>
                </a:cubicBezTo>
                <a:lnTo>
                  <a:pt x="8837" y="1584794"/>
                </a:lnTo>
                <a:cubicBezTo>
                  <a:pt x="3779" y="1554782"/>
                  <a:pt x="1328" y="1524133"/>
                  <a:pt x="1370" y="1493044"/>
                </a:cubicBezTo>
                <a:cubicBezTo>
                  <a:pt x="58" y="1487460"/>
                  <a:pt x="0" y="1481838"/>
                  <a:pt x="0" y="1476202"/>
                </a:cubicBezTo>
                <a:lnTo>
                  <a:pt x="594" y="1464852"/>
                </a:lnTo>
                <a:lnTo>
                  <a:pt x="1092" y="1464884"/>
                </a:lnTo>
                <a:close/>
                <a:moveTo>
                  <a:pt x="7762529" y="750600"/>
                </a:moveTo>
                <a:cubicBezTo>
                  <a:pt x="7815805" y="1021506"/>
                  <a:pt x="8030648" y="1236303"/>
                  <a:pt x="8305838" y="1295446"/>
                </a:cubicBezTo>
                <a:cubicBezTo>
                  <a:pt x="8252563" y="1024540"/>
                  <a:pt x="8037719" y="809743"/>
                  <a:pt x="7762529" y="750600"/>
                </a:cubicBezTo>
                <a:close/>
                <a:moveTo>
                  <a:pt x="7455280" y="750600"/>
                </a:moveTo>
                <a:cubicBezTo>
                  <a:pt x="7180090" y="809743"/>
                  <a:pt x="6965246" y="1024540"/>
                  <a:pt x="6911971" y="1295446"/>
                </a:cubicBezTo>
                <a:cubicBezTo>
                  <a:pt x="7187161" y="1236303"/>
                  <a:pt x="7402004" y="1021506"/>
                  <a:pt x="7455280" y="750600"/>
                </a:cubicBezTo>
                <a:close/>
                <a:moveTo>
                  <a:pt x="6070378" y="750600"/>
                </a:moveTo>
                <a:cubicBezTo>
                  <a:pt x="6123654" y="1021506"/>
                  <a:pt x="6338497" y="1236303"/>
                  <a:pt x="6613687" y="1295446"/>
                </a:cubicBezTo>
                <a:cubicBezTo>
                  <a:pt x="6560412" y="1024540"/>
                  <a:pt x="6345568" y="809743"/>
                  <a:pt x="6070378" y="750600"/>
                </a:cubicBezTo>
                <a:close/>
                <a:moveTo>
                  <a:pt x="5763129" y="750600"/>
                </a:moveTo>
                <a:cubicBezTo>
                  <a:pt x="5487939" y="809743"/>
                  <a:pt x="5273095" y="1024540"/>
                  <a:pt x="5219820" y="1295446"/>
                </a:cubicBezTo>
                <a:cubicBezTo>
                  <a:pt x="5495010" y="1236303"/>
                  <a:pt x="5709853" y="1021506"/>
                  <a:pt x="5763129" y="750600"/>
                </a:cubicBezTo>
                <a:close/>
                <a:moveTo>
                  <a:pt x="4378227" y="750600"/>
                </a:moveTo>
                <a:cubicBezTo>
                  <a:pt x="4431503" y="1021506"/>
                  <a:pt x="4646346" y="1236303"/>
                  <a:pt x="4921536" y="1295446"/>
                </a:cubicBezTo>
                <a:cubicBezTo>
                  <a:pt x="4868261" y="1024540"/>
                  <a:pt x="4653417" y="809743"/>
                  <a:pt x="4378227" y="750600"/>
                </a:cubicBezTo>
                <a:close/>
                <a:moveTo>
                  <a:pt x="4070978" y="750600"/>
                </a:moveTo>
                <a:cubicBezTo>
                  <a:pt x="3795788" y="809743"/>
                  <a:pt x="3580944" y="1024540"/>
                  <a:pt x="3527669" y="1295446"/>
                </a:cubicBezTo>
                <a:cubicBezTo>
                  <a:pt x="3802859" y="1236303"/>
                  <a:pt x="4017702" y="1021506"/>
                  <a:pt x="4070978" y="750600"/>
                </a:cubicBezTo>
                <a:close/>
                <a:moveTo>
                  <a:pt x="2686076" y="750600"/>
                </a:moveTo>
                <a:cubicBezTo>
                  <a:pt x="2739352" y="1021506"/>
                  <a:pt x="2954195" y="1236303"/>
                  <a:pt x="3229385" y="1295446"/>
                </a:cubicBezTo>
                <a:cubicBezTo>
                  <a:pt x="3176110" y="1024540"/>
                  <a:pt x="2961266" y="809743"/>
                  <a:pt x="2686076" y="750600"/>
                </a:cubicBezTo>
                <a:close/>
                <a:moveTo>
                  <a:pt x="2378827" y="750600"/>
                </a:moveTo>
                <a:cubicBezTo>
                  <a:pt x="2103637" y="809743"/>
                  <a:pt x="1888793" y="1024540"/>
                  <a:pt x="1835518" y="1295446"/>
                </a:cubicBezTo>
                <a:cubicBezTo>
                  <a:pt x="2110708" y="1236303"/>
                  <a:pt x="2325551" y="1021506"/>
                  <a:pt x="2378827" y="750600"/>
                </a:cubicBezTo>
                <a:close/>
                <a:moveTo>
                  <a:pt x="993925" y="750600"/>
                </a:moveTo>
                <a:cubicBezTo>
                  <a:pt x="1047201" y="1021506"/>
                  <a:pt x="1262044" y="1236303"/>
                  <a:pt x="1537234" y="1295446"/>
                </a:cubicBezTo>
                <a:cubicBezTo>
                  <a:pt x="1483959" y="1024540"/>
                  <a:pt x="1269115" y="809743"/>
                  <a:pt x="993925" y="750600"/>
                </a:cubicBezTo>
                <a:close/>
                <a:moveTo>
                  <a:pt x="686676" y="750600"/>
                </a:moveTo>
                <a:cubicBezTo>
                  <a:pt x="411486" y="809743"/>
                  <a:pt x="196642" y="1024540"/>
                  <a:pt x="143367" y="1295446"/>
                </a:cubicBezTo>
                <a:cubicBezTo>
                  <a:pt x="418557" y="1236303"/>
                  <a:pt x="633400" y="1021506"/>
                  <a:pt x="686676" y="750600"/>
                </a:cubicBezTo>
                <a:close/>
                <a:moveTo>
                  <a:pt x="9139239" y="624486"/>
                </a:moveTo>
                <a:lnTo>
                  <a:pt x="9139239" y="752995"/>
                </a:lnTo>
                <a:lnTo>
                  <a:pt x="9047261" y="779881"/>
                </a:lnTo>
                <a:cubicBezTo>
                  <a:pt x="8821055" y="864319"/>
                  <a:pt x="8650738" y="1058403"/>
                  <a:pt x="8604122" y="1295446"/>
                </a:cubicBezTo>
                <a:cubicBezTo>
                  <a:pt x="8844913" y="1243696"/>
                  <a:pt x="9039501" y="1072773"/>
                  <a:pt x="9120077" y="849365"/>
                </a:cubicBezTo>
                <a:lnTo>
                  <a:pt x="9139239" y="780178"/>
                </a:lnTo>
                <a:lnTo>
                  <a:pt x="9139239" y="1085737"/>
                </a:lnTo>
                <a:lnTo>
                  <a:pt x="9135069" y="1092549"/>
                </a:lnTo>
                <a:cubicBezTo>
                  <a:pt x="9008919" y="1266178"/>
                  <a:pt x="8815033" y="1389778"/>
                  <a:pt x="8590751" y="1426902"/>
                </a:cubicBezTo>
                <a:lnTo>
                  <a:pt x="8590635" y="1428050"/>
                </a:lnTo>
                <a:cubicBezTo>
                  <a:pt x="8585324" y="1429061"/>
                  <a:pt x="8579995" y="1430009"/>
                  <a:pt x="8574418" y="1429590"/>
                </a:cubicBezTo>
                <a:cubicBezTo>
                  <a:pt x="8543246" y="1435144"/>
                  <a:pt x="8511366" y="1438125"/>
                  <a:pt x="8478991" y="1438652"/>
                </a:cubicBezTo>
                <a:lnTo>
                  <a:pt x="8461873" y="1440278"/>
                </a:lnTo>
                <a:lnTo>
                  <a:pt x="8461847" y="1439783"/>
                </a:lnTo>
                <a:lnTo>
                  <a:pt x="8461348" y="1439816"/>
                </a:lnTo>
                <a:cubicBezTo>
                  <a:pt x="8460782" y="1436014"/>
                  <a:pt x="8460755" y="1432198"/>
                  <a:pt x="8460755" y="1428376"/>
                </a:cubicBezTo>
                <a:cubicBezTo>
                  <a:pt x="8460755" y="1422694"/>
                  <a:pt x="8460814" y="1417025"/>
                  <a:pt x="8462126" y="1411395"/>
                </a:cubicBezTo>
                <a:cubicBezTo>
                  <a:pt x="8462083" y="1380067"/>
                  <a:pt x="8464533" y="1349182"/>
                  <a:pt x="8469590" y="1318938"/>
                </a:cubicBezTo>
                <a:lnTo>
                  <a:pt x="8470130" y="1312248"/>
                </a:lnTo>
                <a:cubicBezTo>
                  <a:pt x="8470299" y="1312243"/>
                  <a:pt x="8470468" y="1312238"/>
                  <a:pt x="8470636" y="1312185"/>
                </a:cubicBezTo>
                <a:cubicBezTo>
                  <a:pt x="8514628" y="1003427"/>
                  <a:pt x="8735297" y="749863"/>
                  <a:pt x="9030178" y="651504"/>
                </a:cubicBezTo>
                <a:close/>
                <a:moveTo>
                  <a:pt x="7620280" y="605769"/>
                </a:moveTo>
                <a:lnTo>
                  <a:pt x="7637367" y="607392"/>
                </a:lnTo>
                <a:cubicBezTo>
                  <a:pt x="7669753" y="607919"/>
                  <a:pt x="7701646" y="610900"/>
                  <a:pt x="7732829" y="616457"/>
                </a:cubicBezTo>
                <a:cubicBezTo>
                  <a:pt x="7738405" y="616038"/>
                  <a:pt x="7743733" y="616986"/>
                  <a:pt x="7749042" y="617996"/>
                </a:cubicBezTo>
                <a:lnTo>
                  <a:pt x="7749159" y="619144"/>
                </a:lnTo>
                <a:cubicBezTo>
                  <a:pt x="8108009" y="678542"/>
                  <a:pt x="8389048" y="959319"/>
                  <a:pt x="8439324" y="1312185"/>
                </a:cubicBezTo>
                <a:cubicBezTo>
                  <a:pt x="8439492" y="1312238"/>
                  <a:pt x="8439661" y="1312243"/>
                  <a:pt x="8439830" y="1312248"/>
                </a:cubicBezTo>
                <a:lnTo>
                  <a:pt x="8440370" y="1318938"/>
                </a:lnTo>
                <a:cubicBezTo>
                  <a:pt x="8445427" y="1349182"/>
                  <a:pt x="8447877" y="1380067"/>
                  <a:pt x="8447834" y="1411395"/>
                </a:cubicBezTo>
                <a:cubicBezTo>
                  <a:pt x="8449146" y="1417025"/>
                  <a:pt x="8449205" y="1422694"/>
                  <a:pt x="8449205" y="1428376"/>
                </a:cubicBezTo>
                <a:cubicBezTo>
                  <a:pt x="8449205" y="1432198"/>
                  <a:pt x="8449178" y="1436014"/>
                  <a:pt x="8448612" y="1439816"/>
                </a:cubicBezTo>
                <a:lnTo>
                  <a:pt x="8448113" y="1439783"/>
                </a:lnTo>
                <a:lnTo>
                  <a:pt x="8448087" y="1440278"/>
                </a:lnTo>
                <a:lnTo>
                  <a:pt x="8430969" y="1438652"/>
                </a:lnTo>
                <a:cubicBezTo>
                  <a:pt x="8398594" y="1438125"/>
                  <a:pt x="8366714" y="1435144"/>
                  <a:pt x="8335542" y="1429590"/>
                </a:cubicBezTo>
                <a:cubicBezTo>
                  <a:pt x="8329965" y="1430009"/>
                  <a:pt x="8324636" y="1429061"/>
                  <a:pt x="8319325" y="1428050"/>
                </a:cubicBezTo>
                <a:lnTo>
                  <a:pt x="8319209" y="1426902"/>
                </a:lnTo>
                <a:cubicBezTo>
                  <a:pt x="7960358" y="1367503"/>
                  <a:pt x="7679319" y="1086726"/>
                  <a:pt x="7629044" y="733861"/>
                </a:cubicBezTo>
                <a:cubicBezTo>
                  <a:pt x="7628876" y="733808"/>
                  <a:pt x="7628708" y="733803"/>
                  <a:pt x="7628538" y="733798"/>
                </a:cubicBezTo>
                <a:lnTo>
                  <a:pt x="7628000" y="727122"/>
                </a:lnTo>
                <a:cubicBezTo>
                  <a:pt x="7622941" y="696872"/>
                  <a:pt x="7620490" y="665981"/>
                  <a:pt x="7620533" y="634646"/>
                </a:cubicBezTo>
                <a:cubicBezTo>
                  <a:pt x="7619221" y="629018"/>
                  <a:pt x="7619162" y="623351"/>
                  <a:pt x="7619162" y="617670"/>
                </a:cubicBezTo>
                <a:lnTo>
                  <a:pt x="7619756" y="606230"/>
                </a:lnTo>
                <a:lnTo>
                  <a:pt x="7620254" y="606263"/>
                </a:lnTo>
                <a:close/>
                <a:moveTo>
                  <a:pt x="7597529" y="605769"/>
                </a:moveTo>
                <a:lnTo>
                  <a:pt x="7597555" y="606263"/>
                </a:lnTo>
                <a:lnTo>
                  <a:pt x="7598053" y="606230"/>
                </a:lnTo>
                <a:lnTo>
                  <a:pt x="7598647" y="617670"/>
                </a:lnTo>
                <a:cubicBezTo>
                  <a:pt x="7598647" y="623351"/>
                  <a:pt x="7598588" y="629018"/>
                  <a:pt x="7597276" y="634646"/>
                </a:cubicBezTo>
                <a:cubicBezTo>
                  <a:pt x="7597319" y="665981"/>
                  <a:pt x="7594868" y="696872"/>
                  <a:pt x="7589809" y="727122"/>
                </a:cubicBezTo>
                <a:lnTo>
                  <a:pt x="7589271" y="733798"/>
                </a:lnTo>
                <a:cubicBezTo>
                  <a:pt x="7589101" y="733803"/>
                  <a:pt x="7588933" y="733808"/>
                  <a:pt x="7588765" y="733861"/>
                </a:cubicBezTo>
                <a:cubicBezTo>
                  <a:pt x="7538490" y="1086726"/>
                  <a:pt x="7257451" y="1367503"/>
                  <a:pt x="6898600" y="1426902"/>
                </a:cubicBezTo>
                <a:lnTo>
                  <a:pt x="6898484" y="1428050"/>
                </a:lnTo>
                <a:cubicBezTo>
                  <a:pt x="6893173" y="1429061"/>
                  <a:pt x="6887844" y="1430009"/>
                  <a:pt x="6882267" y="1429590"/>
                </a:cubicBezTo>
                <a:cubicBezTo>
                  <a:pt x="6851095" y="1435144"/>
                  <a:pt x="6819215" y="1438125"/>
                  <a:pt x="6786841" y="1438652"/>
                </a:cubicBezTo>
                <a:lnTo>
                  <a:pt x="6769722" y="1440278"/>
                </a:lnTo>
                <a:lnTo>
                  <a:pt x="6769696" y="1439783"/>
                </a:lnTo>
                <a:lnTo>
                  <a:pt x="6769197" y="1439816"/>
                </a:lnTo>
                <a:cubicBezTo>
                  <a:pt x="6768631" y="1436014"/>
                  <a:pt x="6768604" y="1432198"/>
                  <a:pt x="6768604" y="1428376"/>
                </a:cubicBezTo>
                <a:cubicBezTo>
                  <a:pt x="6768604" y="1422694"/>
                  <a:pt x="6768663" y="1417025"/>
                  <a:pt x="6769975" y="1411395"/>
                </a:cubicBezTo>
                <a:cubicBezTo>
                  <a:pt x="6769933" y="1380067"/>
                  <a:pt x="6772382" y="1349182"/>
                  <a:pt x="6777439" y="1318938"/>
                </a:cubicBezTo>
                <a:lnTo>
                  <a:pt x="6777979" y="1312248"/>
                </a:lnTo>
                <a:cubicBezTo>
                  <a:pt x="6778148" y="1312243"/>
                  <a:pt x="6778317" y="1312238"/>
                  <a:pt x="6778485" y="1312185"/>
                </a:cubicBezTo>
                <a:cubicBezTo>
                  <a:pt x="6828761" y="959319"/>
                  <a:pt x="7109800" y="678542"/>
                  <a:pt x="7468650" y="619144"/>
                </a:cubicBezTo>
                <a:lnTo>
                  <a:pt x="7468767" y="617996"/>
                </a:lnTo>
                <a:cubicBezTo>
                  <a:pt x="7474076" y="616986"/>
                  <a:pt x="7479404" y="616038"/>
                  <a:pt x="7484980" y="616457"/>
                </a:cubicBezTo>
                <a:cubicBezTo>
                  <a:pt x="7516163" y="610900"/>
                  <a:pt x="7548056" y="607919"/>
                  <a:pt x="7580442" y="607392"/>
                </a:cubicBezTo>
                <a:close/>
                <a:moveTo>
                  <a:pt x="5928129" y="605769"/>
                </a:moveTo>
                <a:lnTo>
                  <a:pt x="5945217" y="607392"/>
                </a:lnTo>
                <a:cubicBezTo>
                  <a:pt x="5977602" y="607919"/>
                  <a:pt x="6009495" y="610900"/>
                  <a:pt x="6040678" y="616457"/>
                </a:cubicBezTo>
                <a:cubicBezTo>
                  <a:pt x="6046254" y="616038"/>
                  <a:pt x="6051582" y="616986"/>
                  <a:pt x="6056891" y="617996"/>
                </a:cubicBezTo>
                <a:lnTo>
                  <a:pt x="6057008" y="619144"/>
                </a:lnTo>
                <a:cubicBezTo>
                  <a:pt x="6415858" y="678542"/>
                  <a:pt x="6696897" y="959319"/>
                  <a:pt x="6747174" y="1312185"/>
                </a:cubicBezTo>
                <a:cubicBezTo>
                  <a:pt x="6747341" y="1312238"/>
                  <a:pt x="6747511" y="1312243"/>
                  <a:pt x="6747679" y="1312248"/>
                </a:cubicBezTo>
                <a:lnTo>
                  <a:pt x="6748220" y="1318938"/>
                </a:lnTo>
                <a:cubicBezTo>
                  <a:pt x="6753276" y="1349182"/>
                  <a:pt x="6755726" y="1380067"/>
                  <a:pt x="6755684" y="1411395"/>
                </a:cubicBezTo>
                <a:cubicBezTo>
                  <a:pt x="6756996" y="1417025"/>
                  <a:pt x="6757054" y="1422694"/>
                  <a:pt x="6757054" y="1428376"/>
                </a:cubicBezTo>
                <a:cubicBezTo>
                  <a:pt x="6757054" y="1432198"/>
                  <a:pt x="6757027" y="1436014"/>
                  <a:pt x="6756461" y="1439816"/>
                </a:cubicBezTo>
                <a:lnTo>
                  <a:pt x="6755962" y="1439783"/>
                </a:lnTo>
                <a:lnTo>
                  <a:pt x="6755936" y="1440278"/>
                </a:lnTo>
                <a:lnTo>
                  <a:pt x="6738818" y="1438652"/>
                </a:lnTo>
                <a:cubicBezTo>
                  <a:pt x="6706444" y="1438125"/>
                  <a:pt x="6674563" y="1435144"/>
                  <a:pt x="6643391" y="1429590"/>
                </a:cubicBezTo>
                <a:cubicBezTo>
                  <a:pt x="6637814" y="1430009"/>
                  <a:pt x="6632485" y="1429061"/>
                  <a:pt x="6627175" y="1428050"/>
                </a:cubicBezTo>
                <a:lnTo>
                  <a:pt x="6627059" y="1426902"/>
                </a:lnTo>
                <a:cubicBezTo>
                  <a:pt x="6268207" y="1367503"/>
                  <a:pt x="5987168" y="1086726"/>
                  <a:pt x="5936893" y="733861"/>
                </a:cubicBezTo>
                <a:cubicBezTo>
                  <a:pt x="5936725" y="733808"/>
                  <a:pt x="5936557" y="733803"/>
                  <a:pt x="5936387" y="733798"/>
                </a:cubicBezTo>
                <a:lnTo>
                  <a:pt x="5935849" y="727122"/>
                </a:lnTo>
                <a:cubicBezTo>
                  <a:pt x="5930790" y="696872"/>
                  <a:pt x="5928340" y="665981"/>
                  <a:pt x="5928382" y="634646"/>
                </a:cubicBezTo>
                <a:cubicBezTo>
                  <a:pt x="5927070" y="629018"/>
                  <a:pt x="5927011" y="623351"/>
                  <a:pt x="5927011" y="617670"/>
                </a:cubicBezTo>
                <a:lnTo>
                  <a:pt x="5927605" y="606230"/>
                </a:lnTo>
                <a:lnTo>
                  <a:pt x="5928103" y="606263"/>
                </a:lnTo>
                <a:close/>
                <a:moveTo>
                  <a:pt x="5905378" y="605769"/>
                </a:moveTo>
                <a:lnTo>
                  <a:pt x="5905404" y="606263"/>
                </a:lnTo>
                <a:lnTo>
                  <a:pt x="5905902" y="606230"/>
                </a:lnTo>
                <a:lnTo>
                  <a:pt x="5906496" y="617670"/>
                </a:lnTo>
                <a:cubicBezTo>
                  <a:pt x="5906496" y="623351"/>
                  <a:pt x="5906438" y="629018"/>
                  <a:pt x="5905126" y="634646"/>
                </a:cubicBezTo>
                <a:cubicBezTo>
                  <a:pt x="5905168" y="665981"/>
                  <a:pt x="5902717" y="696872"/>
                  <a:pt x="5897659" y="727122"/>
                </a:cubicBezTo>
                <a:lnTo>
                  <a:pt x="5897120" y="733798"/>
                </a:lnTo>
                <a:cubicBezTo>
                  <a:pt x="5896951" y="733803"/>
                  <a:pt x="5896782" y="733808"/>
                  <a:pt x="5896615" y="733861"/>
                </a:cubicBezTo>
                <a:cubicBezTo>
                  <a:pt x="5846339" y="1086726"/>
                  <a:pt x="5565300" y="1367503"/>
                  <a:pt x="5206449" y="1426902"/>
                </a:cubicBezTo>
                <a:lnTo>
                  <a:pt x="5206334" y="1428050"/>
                </a:lnTo>
                <a:cubicBezTo>
                  <a:pt x="5201022" y="1429061"/>
                  <a:pt x="5195693" y="1430009"/>
                  <a:pt x="5190116" y="1429590"/>
                </a:cubicBezTo>
                <a:cubicBezTo>
                  <a:pt x="5158944" y="1435144"/>
                  <a:pt x="5127065" y="1438125"/>
                  <a:pt x="5094690" y="1438652"/>
                </a:cubicBezTo>
                <a:lnTo>
                  <a:pt x="5077571" y="1440278"/>
                </a:lnTo>
                <a:lnTo>
                  <a:pt x="5077545" y="1439783"/>
                </a:lnTo>
                <a:lnTo>
                  <a:pt x="5077046" y="1439816"/>
                </a:lnTo>
                <a:cubicBezTo>
                  <a:pt x="5076480" y="1436014"/>
                  <a:pt x="5076453" y="1432198"/>
                  <a:pt x="5076453" y="1428376"/>
                </a:cubicBezTo>
                <a:cubicBezTo>
                  <a:pt x="5076453" y="1422694"/>
                  <a:pt x="5076512" y="1417025"/>
                  <a:pt x="5077824" y="1411395"/>
                </a:cubicBezTo>
                <a:cubicBezTo>
                  <a:pt x="5077782" y="1380067"/>
                  <a:pt x="5080231" y="1349182"/>
                  <a:pt x="5085288" y="1318938"/>
                </a:cubicBezTo>
                <a:lnTo>
                  <a:pt x="5085828" y="1312248"/>
                </a:lnTo>
                <a:cubicBezTo>
                  <a:pt x="5085997" y="1312243"/>
                  <a:pt x="5086166" y="1312238"/>
                  <a:pt x="5086334" y="1312185"/>
                </a:cubicBezTo>
                <a:cubicBezTo>
                  <a:pt x="5136610" y="959319"/>
                  <a:pt x="5417649" y="678542"/>
                  <a:pt x="5776501" y="619144"/>
                </a:cubicBezTo>
                <a:lnTo>
                  <a:pt x="5776617" y="617996"/>
                </a:lnTo>
                <a:cubicBezTo>
                  <a:pt x="5781926" y="616986"/>
                  <a:pt x="5787253" y="616038"/>
                  <a:pt x="5792829" y="616457"/>
                </a:cubicBezTo>
                <a:cubicBezTo>
                  <a:pt x="5824013" y="610900"/>
                  <a:pt x="5855905" y="607919"/>
                  <a:pt x="5888291" y="607392"/>
                </a:cubicBezTo>
                <a:close/>
                <a:moveTo>
                  <a:pt x="4235979" y="605769"/>
                </a:moveTo>
                <a:lnTo>
                  <a:pt x="4253065" y="607392"/>
                </a:lnTo>
                <a:cubicBezTo>
                  <a:pt x="4285451" y="607919"/>
                  <a:pt x="4317343" y="610900"/>
                  <a:pt x="4348528" y="616457"/>
                </a:cubicBezTo>
                <a:cubicBezTo>
                  <a:pt x="4354104" y="616038"/>
                  <a:pt x="4359431" y="616986"/>
                  <a:pt x="4364739" y="617996"/>
                </a:cubicBezTo>
                <a:lnTo>
                  <a:pt x="4364856" y="619144"/>
                </a:lnTo>
                <a:cubicBezTo>
                  <a:pt x="4723707" y="678542"/>
                  <a:pt x="5004746" y="959319"/>
                  <a:pt x="5055022" y="1312185"/>
                </a:cubicBezTo>
                <a:cubicBezTo>
                  <a:pt x="5055190" y="1312238"/>
                  <a:pt x="5055359" y="1312243"/>
                  <a:pt x="5055528" y="1312248"/>
                </a:cubicBezTo>
                <a:lnTo>
                  <a:pt x="5056068" y="1318938"/>
                </a:lnTo>
                <a:cubicBezTo>
                  <a:pt x="5061125" y="1349182"/>
                  <a:pt x="5063574" y="1380067"/>
                  <a:pt x="5063532" y="1411395"/>
                </a:cubicBezTo>
                <a:cubicBezTo>
                  <a:pt x="5064844" y="1417025"/>
                  <a:pt x="5064903" y="1422694"/>
                  <a:pt x="5064903" y="1428376"/>
                </a:cubicBezTo>
                <a:cubicBezTo>
                  <a:pt x="5064903" y="1432198"/>
                  <a:pt x="5064876" y="1436014"/>
                  <a:pt x="5064310" y="1439816"/>
                </a:cubicBezTo>
                <a:lnTo>
                  <a:pt x="5063811" y="1439783"/>
                </a:lnTo>
                <a:lnTo>
                  <a:pt x="5063785" y="1440278"/>
                </a:lnTo>
                <a:lnTo>
                  <a:pt x="5046666" y="1438652"/>
                </a:lnTo>
                <a:cubicBezTo>
                  <a:pt x="5014292" y="1438125"/>
                  <a:pt x="4982412" y="1435144"/>
                  <a:pt x="4951241" y="1429590"/>
                </a:cubicBezTo>
                <a:cubicBezTo>
                  <a:pt x="4945663" y="1430009"/>
                  <a:pt x="4940334" y="1429061"/>
                  <a:pt x="4935023" y="1428050"/>
                </a:cubicBezTo>
                <a:lnTo>
                  <a:pt x="4934907" y="1426902"/>
                </a:lnTo>
                <a:cubicBezTo>
                  <a:pt x="4576056" y="1367503"/>
                  <a:pt x="4295017" y="1086726"/>
                  <a:pt x="4244741" y="733861"/>
                </a:cubicBezTo>
                <a:cubicBezTo>
                  <a:pt x="4244574" y="733808"/>
                  <a:pt x="4244405" y="733803"/>
                  <a:pt x="4244236" y="733798"/>
                </a:cubicBezTo>
                <a:lnTo>
                  <a:pt x="4243697" y="727122"/>
                </a:lnTo>
                <a:cubicBezTo>
                  <a:pt x="4238639" y="696872"/>
                  <a:pt x="4236188" y="665981"/>
                  <a:pt x="4236230" y="634646"/>
                </a:cubicBezTo>
                <a:cubicBezTo>
                  <a:pt x="4234918" y="629018"/>
                  <a:pt x="4234860" y="623351"/>
                  <a:pt x="4234860" y="617670"/>
                </a:cubicBezTo>
                <a:lnTo>
                  <a:pt x="4235454" y="606230"/>
                </a:lnTo>
                <a:lnTo>
                  <a:pt x="4235952" y="606263"/>
                </a:lnTo>
                <a:close/>
                <a:moveTo>
                  <a:pt x="4213227" y="605769"/>
                </a:moveTo>
                <a:lnTo>
                  <a:pt x="4213253" y="606263"/>
                </a:lnTo>
                <a:lnTo>
                  <a:pt x="4213751" y="606230"/>
                </a:lnTo>
                <a:lnTo>
                  <a:pt x="4214345" y="617670"/>
                </a:lnTo>
                <a:cubicBezTo>
                  <a:pt x="4214345" y="623351"/>
                  <a:pt x="4214286" y="629018"/>
                  <a:pt x="4212974" y="634646"/>
                </a:cubicBezTo>
                <a:cubicBezTo>
                  <a:pt x="4213016" y="665981"/>
                  <a:pt x="4210566" y="696872"/>
                  <a:pt x="4205507" y="727122"/>
                </a:cubicBezTo>
                <a:lnTo>
                  <a:pt x="4204969" y="733798"/>
                </a:lnTo>
                <a:cubicBezTo>
                  <a:pt x="4204799" y="733803"/>
                  <a:pt x="4204631" y="733808"/>
                  <a:pt x="4204463" y="733861"/>
                </a:cubicBezTo>
                <a:cubicBezTo>
                  <a:pt x="4154188" y="1086726"/>
                  <a:pt x="3873149" y="1367503"/>
                  <a:pt x="3514297" y="1426902"/>
                </a:cubicBezTo>
                <a:lnTo>
                  <a:pt x="3514181" y="1428050"/>
                </a:lnTo>
                <a:cubicBezTo>
                  <a:pt x="3508871" y="1429061"/>
                  <a:pt x="3503542" y="1430009"/>
                  <a:pt x="3497965" y="1429590"/>
                </a:cubicBezTo>
                <a:cubicBezTo>
                  <a:pt x="3466793" y="1435144"/>
                  <a:pt x="3434912" y="1438125"/>
                  <a:pt x="3402538" y="1438652"/>
                </a:cubicBezTo>
                <a:lnTo>
                  <a:pt x="3385420" y="1440278"/>
                </a:lnTo>
                <a:lnTo>
                  <a:pt x="3385394" y="1439783"/>
                </a:lnTo>
                <a:lnTo>
                  <a:pt x="3384895" y="1439816"/>
                </a:lnTo>
                <a:cubicBezTo>
                  <a:pt x="3384329" y="1436014"/>
                  <a:pt x="3384302" y="1432198"/>
                  <a:pt x="3384302" y="1428376"/>
                </a:cubicBezTo>
                <a:cubicBezTo>
                  <a:pt x="3384302" y="1422694"/>
                  <a:pt x="3384360" y="1417025"/>
                  <a:pt x="3385672" y="1411395"/>
                </a:cubicBezTo>
                <a:cubicBezTo>
                  <a:pt x="3385630" y="1380067"/>
                  <a:pt x="3388080" y="1349182"/>
                  <a:pt x="3393136" y="1318938"/>
                </a:cubicBezTo>
                <a:lnTo>
                  <a:pt x="3393677" y="1312248"/>
                </a:lnTo>
                <a:cubicBezTo>
                  <a:pt x="3393845" y="1312243"/>
                  <a:pt x="3394015" y="1312238"/>
                  <a:pt x="3394182" y="1312185"/>
                </a:cubicBezTo>
                <a:cubicBezTo>
                  <a:pt x="3444459" y="959319"/>
                  <a:pt x="3725498" y="678542"/>
                  <a:pt x="4084348" y="619144"/>
                </a:cubicBezTo>
                <a:lnTo>
                  <a:pt x="4084465" y="617996"/>
                </a:lnTo>
                <a:cubicBezTo>
                  <a:pt x="4089774" y="616986"/>
                  <a:pt x="4095102" y="616038"/>
                  <a:pt x="4100678" y="616457"/>
                </a:cubicBezTo>
                <a:cubicBezTo>
                  <a:pt x="4131861" y="610900"/>
                  <a:pt x="4163754" y="607919"/>
                  <a:pt x="4196139" y="607392"/>
                </a:cubicBezTo>
                <a:close/>
                <a:moveTo>
                  <a:pt x="2543827" y="605769"/>
                </a:moveTo>
                <a:lnTo>
                  <a:pt x="2560914" y="607392"/>
                </a:lnTo>
                <a:cubicBezTo>
                  <a:pt x="2593300" y="607919"/>
                  <a:pt x="2625192" y="610900"/>
                  <a:pt x="2656376" y="616457"/>
                </a:cubicBezTo>
                <a:cubicBezTo>
                  <a:pt x="2661952" y="616038"/>
                  <a:pt x="2667280" y="616986"/>
                  <a:pt x="2672588" y="617996"/>
                </a:cubicBezTo>
                <a:lnTo>
                  <a:pt x="2672706" y="619144"/>
                </a:lnTo>
                <a:cubicBezTo>
                  <a:pt x="3031556" y="678542"/>
                  <a:pt x="3312595" y="959319"/>
                  <a:pt x="3362871" y="1312185"/>
                </a:cubicBezTo>
                <a:cubicBezTo>
                  <a:pt x="3363039" y="1312238"/>
                  <a:pt x="3363208" y="1312243"/>
                  <a:pt x="3363377" y="1312248"/>
                </a:cubicBezTo>
                <a:lnTo>
                  <a:pt x="3363917" y="1318938"/>
                </a:lnTo>
                <a:cubicBezTo>
                  <a:pt x="3368974" y="1349182"/>
                  <a:pt x="3371423" y="1380067"/>
                  <a:pt x="3371381" y="1411395"/>
                </a:cubicBezTo>
                <a:cubicBezTo>
                  <a:pt x="3372693" y="1417025"/>
                  <a:pt x="3372752" y="1422694"/>
                  <a:pt x="3372752" y="1428376"/>
                </a:cubicBezTo>
                <a:cubicBezTo>
                  <a:pt x="3372752" y="1432198"/>
                  <a:pt x="3372725" y="1436014"/>
                  <a:pt x="3372159" y="1439816"/>
                </a:cubicBezTo>
                <a:lnTo>
                  <a:pt x="3371660" y="1439783"/>
                </a:lnTo>
                <a:lnTo>
                  <a:pt x="3371634" y="1440278"/>
                </a:lnTo>
                <a:lnTo>
                  <a:pt x="3354515" y="1438652"/>
                </a:lnTo>
                <a:cubicBezTo>
                  <a:pt x="3322141" y="1438125"/>
                  <a:pt x="3290261" y="1435144"/>
                  <a:pt x="3259089" y="1429590"/>
                </a:cubicBezTo>
                <a:cubicBezTo>
                  <a:pt x="3253512" y="1430009"/>
                  <a:pt x="3248183" y="1429061"/>
                  <a:pt x="3242872" y="1428050"/>
                </a:cubicBezTo>
                <a:lnTo>
                  <a:pt x="3242756" y="1426902"/>
                </a:lnTo>
                <a:cubicBezTo>
                  <a:pt x="2883905" y="1367503"/>
                  <a:pt x="2602866" y="1086726"/>
                  <a:pt x="2552590" y="733861"/>
                </a:cubicBezTo>
                <a:cubicBezTo>
                  <a:pt x="2552423" y="733808"/>
                  <a:pt x="2552254" y="733803"/>
                  <a:pt x="2552085" y="733798"/>
                </a:cubicBezTo>
                <a:lnTo>
                  <a:pt x="2551547" y="727122"/>
                </a:lnTo>
                <a:cubicBezTo>
                  <a:pt x="2546488" y="696872"/>
                  <a:pt x="2544037" y="665981"/>
                  <a:pt x="2544079" y="634646"/>
                </a:cubicBezTo>
                <a:cubicBezTo>
                  <a:pt x="2542767" y="629018"/>
                  <a:pt x="2542709" y="623351"/>
                  <a:pt x="2542709" y="617670"/>
                </a:cubicBezTo>
                <a:lnTo>
                  <a:pt x="2543303" y="606230"/>
                </a:lnTo>
                <a:lnTo>
                  <a:pt x="2543801" y="606263"/>
                </a:lnTo>
                <a:close/>
                <a:moveTo>
                  <a:pt x="2521076" y="605769"/>
                </a:moveTo>
                <a:lnTo>
                  <a:pt x="2521102" y="606263"/>
                </a:lnTo>
                <a:lnTo>
                  <a:pt x="2521600" y="606230"/>
                </a:lnTo>
                <a:lnTo>
                  <a:pt x="2522194" y="617670"/>
                </a:lnTo>
                <a:cubicBezTo>
                  <a:pt x="2522194" y="623351"/>
                  <a:pt x="2522135" y="629018"/>
                  <a:pt x="2520823" y="634646"/>
                </a:cubicBezTo>
                <a:cubicBezTo>
                  <a:pt x="2520865" y="665981"/>
                  <a:pt x="2518415" y="696872"/>
                  <a:pt x="2513356" y="727122"/>
                </a:cubicBezTo>
                <a:lnTo>
                  <a:pt x="2512818" y="733798"/>
                </a:lnTo>
                <a:cubicBezTo>
                  <a:pt x="2512648" y="733803"/>
                  <a:pt x="2512480" y="733808"/>
                  <a:pt x="2512312" y="733861"/>
                </a:cubicBezTo>
                <a:cubicBezTo>
                  <a:pt x="2462037" y="1086726"/>
                  <a:pt x="2180998" y="1367503"/>
                  <a:pt x="1822147" y="1426902"/>
                </a:cubicBezTo>
                <a:lnTo>
                  <a:pt x="1822030" y="1428050"/>
                </a:lnTo>
                <a:cubicBezTo>
                  <a:pt x="1816720" y="1429061"/>
                  <a:pt x="1811391" y="1430009"/>
                  <a:pt x="1805814" y="1429590"/>
                </a:cubicBezTo>
                <a:cubicBezTo>
                  <a:pt x="1774642" y="1435144"/>
                  <a:pt x="1742762" y="1438125"/>
                  <a:pt x="1710387" y="1438652"/>
                </a:cubicBezTo>
                <a:lnTo>
                  <a:pt x="1693269" y="1440278"/>
                </a:lnTo>
                <a:lnTo>
                  <a:pt x="1693243" y="1439783"/>
                </a:lnTo>
                <a:lnTo>
                  <a:pt x="1692744" y="1439816"/>
                </a:lnTo>
                <a:cubicBezTo>
                  <a:pt x="1692178" y="1436014"/>
                  <a:pt x="1692151" y="1432198"/>
                  <a:pt x="1692151" y="1428376"/>
                </a:cubicBezTo>
                <a:cubicBezTo>
                  <a:pt x="1692151" y="1422694"/>
                  <a:pt x="1692209" y="1417025"/>
                  <a:pt x="1693521" y="1411395"/>
                </a:cubicBezTo>
                <a:cubicBezTo>
                  <a:pt x="1693479" y="1380067"/>
                  <a:pt x="1695929" y="1349182"/>
                  <a:pt x="1700985" y="1318938"/>
                </a:cubicBezTo>
                <a:lnTo>
                  <a:pt x="1701526" y="1312248"/>
                </a:lnTo>
                <a:cubicBezTo>
                  <a:pt x="1701694" y="1312243"/>
                  <a:pt x="1701864" y="1312238"/>
                  <a:pt x="1702031" y="1312185"/>
                </a:cubicBezTo>
                <a:cubicBezTo>
                  <a:pt x="1752308" y="959319"/>
                  <a:pt x="2033347" y="678542"/>
                  <a:pt x="2392197" y="619144"/>
                </a:cubicBezTo>
                <a:lnTo>
                  <a:pt x="2392314" y="617996"/>
                </a:lnTo>
                <a:cubicBezTo>
                  <a:pt x="2397623" y="616986"/>
                  <a:pt x="2402951" y="616038"/>
                  <a:pt x="2408527" y="616457"/>
                </a:cubicBezTo>
                <a:cubicBezTo>
                  <a:pt x="2439710" y="610900"/>
                  <a:pt x="2471603" y="607919"/>
                  <a:pt x="2503988" y="607392"/>
                </a:cubicBezTo>
                <a:close/>
                <a:moveTo>
                  <a:pt x="851676" y="605769"/>
                </a:moveTo>
                <a:lnTo>
                  <a:pt x="868763" y="607392"/>
                </a:lnTo>
                <a:cubicBezTo>
                  <a:pt x="901149" y="607919"/>
                  <a:pt x="933041" y="610900"/>
                  <a:pt x="964225" y="616457"/>
                </a:cubicBezTo>
                <a:cubicBezTo>
                  <a:pt x="969801" y="616038"/>
                  <a:pt x="975129" y="616986"/>
                  <a:pt x="980437" y="617996"/>
                </a:cubicBezTo>
                <a:lnTo>
                  <a:pt x="980555" y="619144"/>
                </a:lnTo>
                <a:cubicBezTo>
                  <a:pt x="1339405" y="678542"/>
                  <a:pt x="1620444" y="959319"/>
                  <a:pt x="1670720" y="1312185"/>
                </a:cubicBezTo>
                <a:cubicBezTo>
                  <a:pt x="1670888" y="1312238"/>
                  <a:pt x="1671057" y="1312243"/>
                  <a:pt x="1671226" y="1312248"/>
                </a:cubicBezTo>
                <a:lnTo>
                  <a:pt x="1671766" y="1318938"/>
                </a:lnTo>
                <a:cubicBezTo>
                  <a:pt x="1676823" y="1349182"/>
                  <a:pt x="1679272" y="1380067"/>
                  <a:pt x="1679230" y="1411395"/>
                </a:cubicBezTo>
                <a:cubicBezTo>
                  <a:pt x="1680542" y="1417025"/>
                  <a:pt x="1680601" y="1422694"/>
                  <a:pt x="1680601" y="1428376"/>
                </a:cubicBezTo>
                <a:cubicBezTo>
                  <a:pt x="1680601" y="1432198"/>
                  <a:pt x="1680574" y="1436014"/>
                  <a:pt x="1680008" y="1439816"/>
                </a:cubicBezTo>
                <a:lnTo>
                  <a:pt x="1679509" y="1439783"/>
                </a:lnTo>
                <a:lnTo>
                  <a:pt x="1679483" y="1440278"/>
                </a:lnTo>
                <a:lnTo>
                  <a:pt x="1662364" y="1438652"/>
                </a:lnTo>
                <a:cubicBezTo>
                  <a:pt x="1629990" y="1438125"/>
                  <a:pt x="1598110" y="1435144"/>
                  <a:pt x="1566938" y="1429590"/>
                </a:cubicBezTo>
                <a:cubicBezTo>
                  <a:pt x="1561361" y="1430009"/>
                  <a:pt x="1556032" y="1429061"/>
                  <a:pt x="1550721" y="1428050"/>
                </a:cubicBezTo>
                <a:lnTo>
                  <a:pt x="1550605" y="1426902"/>
                </a:lnTo>
                <a:cubicBezTo>
                  <a:pt x="1191754" y="1367503"/>
                  <a:pt x="910715" y="1086726"/>
                  <a:pt x="860439" y="733861"/>
                </a:cubicBezTo>
                <a:cubicBezTo>
                  <a:pt x="860272" y="733808"/>
                  <a:pt x="860103" y="733803"/>
                  <a:pt x="859934" y="733798"/>
                </a:cubicBezTo>
                <a:lnTo>
                  <a:pt x="859396" y="727122"/>
                </a:lnTo>
                <a:cubicBezTo>
                  <a:pt x="854337" y="696872"/>
                  <a:pt x="851886" y="665981"/>
                  <a:pt x="851928" y="634646"/>
                </a:cubicBezTo>
                <a:cubicBezTo>
                  <a:pt x="850616" y="629018"/>
                  <a:pt x="850558" y="623351"/>
                  <a:pt x="850558" y="617670"/>
                </a:cubicBezTo>
                <a:lnTo>
                  <a:pt x="851152" y="606230"/>
                </a:lnTo>
                <a:lnTo>
                  <a:pt x="851650" y="606263"/>
                </a:lnTo>
                <a:close/>
                <a:moveTo>
                  <a:pt x="828925" y="605769"/>
                </a:moveTo>
                <a:lnTo>
                  <a:pt x="828951" y="606263"/>
                </a:lnTo>
                <a:lnTo>
                  <a:pt x="829449" y="606230"/>
                </a:lnTo>
                <a:lnTo>
                  <a:pt x="830043" y="617670"/>
                </a:lnTo>
                <a:cubicBezTo>
                  <a:pt x="830043" y="623351"/>
                  <a:pt x="829984" y="629018"/>
                  <a:pt x="828672" y="634646"/>
                </a:cubicBezTo>
                <a:cubicBezTo>
                  <a:pt x="828714" y="665981"/>
                  <a:pt x="826264" y="696872"/>
                  <a:pt x="821205" y="727122"/>
                </a:cubicBezTo>
                <a:lnTo>
                  <a:pt x="820667" y="733798"/>
                </a:lnTo>
                <a:cubicBezTo>
                  <a:pt x="820497" y="733803"/>
                  <a:pt x="820329" y="733808"/>
                  <a:pt x="820161" y="733861"/>
                </a:cubicBezTo>
                <a:cubicBezTo>
                  <a:pt x="769886" y="1086726"/>
                  <a:pt x="488847" y="1367503"/>
                  <a:pt x="129995" y="1426902"/>
                </a:cubicBezTo>
                <a:lnTo>
                  <a:pt x="129879" y="1428050"/>
                </a:lnTo>
                <a:cubicBezTo>
                  <a:pt x="124569" y="1429061"/>
                  <a:pt x="119240" y="1430009"/>
                  <a:pt x="113663" y="1429590"/>
                </a:cubicBezTo>
                <a:cubicBezTo>
                  <a:pt x="82491" y="1435144"/>
                  <a:pt x="50611" y="1438125"/>
                  <a:pt x="18236" y="1438652"/>
                </a:cubicBezTo>
                <a:lnTo>
                  <a:pt x="1118" y="1440278"/>
                </a:lnTo>
                <a:lnTo>
                  <a:pt x="1092" y="1439783"/>
                </a:lnTo>
                <a:lnTo>
                  <a:pt x="593" y="1439816"/>
                </a:lnTo>
                <a:cubicBezTo>
                  <a:pt x="27" y="1436014"/>
                  <a:pt x="0" y="1432198"/>
                  <a:pt x="0" y="1428376"/>
                </a:cubicBezTo>
                <a:cubicBezTo>
                  <a:pt x="0" y="1422694"/>
                  <a:pt x="58" y="1417025"/>
                  <a:pt x="1370" y="1411395"/>
                </a:cubicBezTo>
                <a:cubicBezTo>
                  <a:pt x="1328" y="1380067"/>
                  <a:pt x="3778" y="1349182"/>
                  <a:pt x="8835" y="1318938"/>
                </a:cubicBezTo>
                <a:lnTo>
                  <a:pt x="9375" y="1312248"/>
                </a:lnTo>
                <a:cubicBezTo>
                  <a:pt x="9543" y="1312243"/>
                  <a:pt x="9713" y="1312238"/>
                  <a:pt x="9880" y="1312185"/>
                </a:cubicBezTo>
                <a:cubicBezTo>
                  <a:pt x="60157" y="959319"/>
                  <a:pt x="341196" y="678542"/>
                  <a:pt x="700046" y="619144"/>
                </a:cubicBezTo>
                <a:lnTo>
                  <a:pt x="700163" y="617996"/>
                </a:lnTo>
                <a:cubicBezTo>
                  <a:pt x="705472" y="616986"/>
                  <a:pt x="710800" y="616038"/>
                  <a:pt x="716376" y="616457"/>
                </a:cubicBezTo>
                <a:cubicBezTo>
                  <a:pt x="747559" y="610900"/>
                  <a:pt x="779452" y="607919"/>
                  <a:pt x="811837" y="607392"/>
                </a:cubicBezTo>
                <a:close/>
                <a:moveTo>
                  <a:pt x="8824701" y="0"/>
                </a:moveTo>
                <a:lnTo>
                  <a:pt x="9033411" y="0"/>
                </a:lnTo>
                <a:cubicBezTo>
                  <a:pt x="9066347" y="30426"/>
                  <a:pt x="9096640" y="63469"/>
                  <a:pt x="9123965" y="98781"/>
                </a:cubicBezTo>
                <a:lnTo>
                  <a:pt x="9139239" y="122382"/>
                </a:lnTo>
                <a:lnTo>
                  <a:pt x="9139239" y="425734"/>
                </a:lnTo>
                <a:lnTo>
                  <a:pt x="9104305" y="314451"/>
                </a:lnTo>
                <a:cubicBezTo>
                  <a:pt x="9046997" y="183490"/>
                  <a:pt x="8948803" y="73504"/>
                  <a:pt x="8824701" y="0"/>
                </a:cubicBezTo>
                <a:close/>
                <a:moveTo>
                  <a:pt x="8494877" y="0"/>
                </a:moveTo>
                <a:lnTo>
                  <a:pt x="8628893" y="0"/>
                </a:lnTo>
                <a:cubicBezTo>
                  <a:pt x="8697052" y="198004"/>
                  <a:pt x="8856086" y="355591"/>
                  <a:pt x="9058275" y="426756"/>
                </a:cubicBezTo>
                <a:lnTo>
                  <a:pt x="9139239" y="449526"/>
                </a:lnTo>
                <a:lnTo>
                  <a:pt x="9139239" y="577136"/>
                </a:lnTo>
                <a:lnTo>
                  <a:pt x="9043252" y="554355"/>
                </a:lnTo>
                <a:cubicBezTo>
                  <a:pt x="8776836" y="470904"/>
                  <a:pt x="8569058" y="262348"/>
                  <a:pt x="8494877" y="0"/>
                </a:cubicBezTo>
                <a:close/>
                <a:moveTo>
                  <a:pt x="7876547" y="0"/>
                </a:moveTo>
                <a:lnTo>
                  <a:pt x="8085257" y="0"/>
                </a:lnTo>
                <a:cubicBezTo>
                  <a:pt x="7919787" y="98005"/>
                  <a:pt x="7800378" y="260867"/>
                  <a:pt x="7762527" y="451830"/>
                </a:cubicBezTo>
                <a:cubicBezTo>
                  <a:pt x="8006579" y="399791"/>
                  <a:pt x="8203169" y="226290"/>
                  <a:pt x="8281065" y="0"/>
                </a:cubicBezTo>
                <a:lnTo>
                  <a:pt x="8415081" y="0"/>
                </a:lnTo>
                <a:cubicBezTo>
                  <a:pt x="8330303" y="299826"/>
                  <a:pt x="8071031" y="529393"/>
                  <a:pt x="7749156" y="582253"/>
                </a:cubicBezTo>
                <a:lnTo>
                  <a:pt x="7749040" y="583392"/>
                </a:lnTo>
                <a:cubicBezTo>
                  <a:pt x="7743729" y="584395"/>
                  <a:pt x="7738400" y="585336"/>
                  <a:pt x="7732823" y="584920"/>
                </a:cubicBezTo>
                <a:cubicBezTo>
                  <a:pt x="7701651" y="590430"/>
                  <a:pt x="7669771" y="593388"/>
                  <a:pt x="7637396" y="593911"/>
                </a:cubicBezTo>
                <a:lnTo>
                  <a:pt x="7620278" y="595524"/>
                </a:lnTo>
                <a:lnTo>
                  <a:pt x="7620252" y="595033"/>
                </a:lnTo>
                <a:lnTo>
                  <a:pt x="7619753" y="595066"/>
                </a:lnTo>
                <a:cubicBezTo>
                  <a:pt x="7619187" y="591293"/>
                  <a:pt x="7619160" y="587507"/>
                  <a:pt x="7619160" y="583715"/>
                </a:cubicBezTo>
                <a:cubicBezTo>
                  <a:pt x="7619160" y="578078"/>
                  <a:pt x="7619219" y="572454"/>
                  <a:pt x="7620531" y="566868"/>
                </a:cubicBezTo>
                <a:cubicBezTo>
                  <a:pt x="7620488" y="535786"/>
                  <a:pt x="7622938" y="505143"/>
                  <a:pt x="7627995" y="475137"/>
                </a:cubicBezTo>
                <a:lnTo>
                  <a:pt x="7628535" y="468500"/>
                </a:lnTo>
                <a:cubicBezTo>
                  <a:pt x="7628704" y="468495"/>
                  <a:pt x="7628873" y="468490"/>
                  <a:pt x="7629040" y="468437"/>
                </a:cubicBezTo>
                <a:cubicBezTo>
                  <a:pt x="7655343" y="285283"/>
                  <a:pt x="7744803" y="121704"/>
                  <a:pt x="7876547" y="0"/>
                </a:cubicBezTo>
                <a:close/>
                <a:moveTo>
                  <a:pt x="6802727" y="0"/>
                </a:moveTo>
                <a:lnTo>
                  <a:pt x="6936742" y="0"/>
                </a:lnTo>
                <a:cubicBezTo>
                  <a:pt x="7014638" y="226290"/>
                  <a:pt x="7211228" y="399791"/>
                  <a:pt x="7455280" y="451830"/>
                </a:cubicBezTo>
                <a:cubicBezTo>
                  <a:pt x="7417429" y="260867"/>
                  <a:pt x="7298020" y="98005"/>
                  <a:pt x="7132550" y="0"/>
                </a:cubicBezTo>
                <a:lnTo>
                  <a:pt x="7341259" y="0"/>
                </a:lnTo>
                <a:cubicBezTo>
                  <a:pt x="7473003" y="121704"/>
                  <a:pt x="7562464" y="285283"/>
                  <a:pt x="7588766" y="468437"/>
                </a:cubicBezTo>
                <a:cubicBezTo>
                  <a:pt x="7588934" y="468490"/>
                  <a:pt x="7589103" y="468495"/>
                  <a:pt x="7589272" y="468500"/>
                </a:cubicBezTo>
                <a:lnTo>
                  <a:pt x="7589812" y="475137"/>
                </a:lnTo>
                <a:cubicBezTo>
                  <a:pt x="7594869" y="505143"/>
                  <a:pt x="7597319" y="535786"/>
                  <a:pt x="7597276" y="566868"/>
                </a:cubicBezTo>
                <a:cubicBezTo>
                  <a:pt x="7598588" y="572454"/>
                  <a:pt x="7598647" y="578078"/>
                  <a:pt x="7598647" y="583715"/>
                </a:cubicBezTo>
                <a:cubicBezTo>
                  <a:pt x="7598647" y="587507"/>
                  <a:pt x="7598620" y="591293"/>
                  <a:pt x="7598054" y="595066"/>
                </a:cubicBezTo>
                <a:lnTo>
                  <a:pt x="7597555" y="595033"/>
                </a:lnTo>
                <a:lnTo>
                  <a:pt x="7597529" y="595524"/>
                </a:lnTo>
                <a:lnTo>
                  <a:pt x="7580411" y="593911"/>
                </a:lnTo>
                <a:cubicBezTo>
                  <a:pt x="7548036" y="593388"/>
                  <a:pt x="7516156" y="590430"/>
                  <a:pt x="7484984" y="584920"/>
                </a:cubicBezTo>
                <a:cubicBezTo>
                  <a:pt x="7479407" y="585336"/>
                  <a:pt x="7474078" y="584395"/>
                  <a:pt x="7468767" y="583392"/>
                </a:cubicBezTo>
                <a:lnTo>
                  <a:pt x="7468651" y="582253"/>
                </a:lnTo>
                <a:cubicBezTo>
                  <a:pt x="7146776" y="529393"/>
                  <a:pt x="6887504" y="299826"/>
                  <a:pt x="6802727" y="0"/>
                </a:cubicBezTo>
                <a:close/>
                <a:moveTo>
                  <a:pt x="6184397" y="0"/>
                </a:moveTo>
                <a:lnTo>
                  <a:pt x="6393106" y="0"/>
                </a:lnTo>
                <a:cubicBezTo>
                  <a:pt x="6227636" y="98005"/>
                  <a:pt x="6108227" y="260867"/>
                  <a:pt x="6070376" y="451830"/>
                </a:cubicBezTo>
                <a:cubicBezTo>
                  <a:pt x="6314429" y="399791"/>
                  <a:pt x="6511018" y="226290"/>
                  <a:pt x="6588914" y="0"/>
                </a:cubicBezTo>
                <a:lnTo>
                  <a:pt x="6722931" y="0"/>
                </a:lnTo>
                <a:cubicBezTo>
                  <a:pt x="6638152" y="299826"/>
                  <a:pt x="6378880" y="529393"/>
                  <a:pt x="6057005" y="582253"/>
                </a:cubicBezTo>
                <a:lnTo>
                  <a:pt x="6056889" y="583392"/>
                </a:lnTo>
                <a:cubicBezTo>
                  <a:pt x="6051578" y="584395"/>
                  <a:pt x="6046249" y="585336"/>
                  <a:pt x="6040672" y="584920"/>
                </a:cubicBezTo>
                <a:cubicBezTo>
                  <a:pt x="6009500" y="590430"/>
                  <a:pt x="5977620" y="593388"/>
                  <a:pt x="5945246" y="593911"/>
                </a:cubicBezTo>
                <a:lnTo>
                  <a:pt x="5928127" y="595524"/>
                </a:lnTo>
                <a:lnTo>
                  <a:pt x="5928101" y="595033"/>
                </a:lnTo>
                <a:lnTo>
                  <a:pt x="5927602" y="595066"/>
                </a:lnTo>
                <a:cubicBezTo>
                  <a:pt x="5927036" y="591293"/>
                  <a:pt x="5927009" y="587507"/>
                  <a:pt x="5927009" y="583715"/>
                </a:cubicBezTo>
                <a:cubicBezTo>
                  <a:pt x="5927009" y="578078"/>
                  <a:pt x="5927068" y="572454"/>
                  <a:pt x="5928380" y="566868"/>
                </a:cubicBezTo>
                <a:cubicBezTo>
                  <a:pt x="5928338" y="535786"/>
                  <a:pt x="5930787" y="505143"/>
                  <a:pt x="5935844" y="475137"/>
                </a:cubicBezTo>
                <a:lnTo>
                  <a:pt x="5936384" y="468500"/>
                </a:lnTo>
                <a:cubicBezTo>
                  <a:pt x="5936553" y="468495"/>
                  <a:pt x="5936722" y="468490"/>
                  <a:pt x="5936890" y="468437"/>
                </a:cubicBezTo>
                <a:cubicBezTo>
                  <a:pt x="5963192" y="285283"/>
                  <a:pt x="6052653" y="121703"/>
                  <a:pt x="6184397" y="0"/>
                </a:cubicBezTo>
                <a:close/>
                <a:moveTo>
                  <a:pt x="5110576" y="0"/>
                </a:moveTo>
                <a:lnTo>
                  <a:pt x="5244592" y="0"/>
                </a:lnTo>
                <a:cubicBezTo>
                  <a:pt x="5322488" y="226290"/>
                  <a:pt x="5519077" y="399791"/>
                  <a:pt x="5763129" y="451830"/>
                </a:cubicBezTo>
                <a:cubicBezTo>
                  <a:pt x="5725278" y="260867"/>
                  <a:pt x="5605869" y="98005"/>
                  <a:pt x="5440399" y="0"/>
                </a:cubicBezTo>
                <a:lnTo>
                  <a:pt x="5649109" y="0"/>
                </a:lnTo>
                <a:cubicBezTo>
                  <a:pt x="5780853" y="121704"/>
                  <a:pt x="5870314" y="285283"/>
                  <a:pt x="5896616" y="468437"/>
                </a:cubicBezTo>
                <a:cubicBezTo>
                  <a:pt x="5896783" y="468490"/>
                  <a:pt x="5896953" y="468495"/>
                  <a:pt x="5897121" y="468500"/>
                </a:cubicBezTo>
                <a:lnTo>
                  <a:pt x="5897662" y="475137"/>
                </a:lnTo>
                <a:cubicBezTo>
                  <a:pt x="5902718" y="505143"/>
                  <a:pt x="5905168" y="535786"/>
                  <a:pt x="5905126" y="566868"/>
                </a:cubicBezTo>
                <a:cubicBezTo>
                  <a:pt x="5906438" y="572454"/>
                  <a:pt x="5906496" y="578078"/>
                  <a:pt x="5906496" y="583715"/>
                </a:cubicBezTo>
                <a:cubicBezTo>
                  <a:pt x="5906496" y="587507"/>
                  <a:pt x="5906469" y="591293"/>
                  <a:pt x="5905903" y="595066"/>
                </a:cubicBezTo>
                <a:lnTo>
                  <a:pt x="5905404" y="595033"/>
                </a:lnTo>
                <a:lnTo>
                  <a:pt x="5905378" y="595524"/>
                </a:lnTo>
                <a:lnTo>
                  <a:pt x="5888260" y="593911"/>
                </a:lnTo>
                <a:cubicBezTo>
                  <a:pt x="5855886" y="593388"/>
                  <a:pt x="5824005" y="590430"/>
                  <a:pt x="5792833" y="584920"/>
                </a:cubicBezTo>
                <a:cubicBezTo>
                  <a:pt x="5787256" y="585336"/>
                  <a:pt x="5781927" y="584395"/>
                  <a:pt x="5776617" y="583392"/>
                </a:cubicBezTo>
                <a:lnTo>
                  <a:pt x="5776501" y="582253"/>
                </a:lnTo>
                <a:cubicBezTo>
                  <a:pt x="5454626" y="529393"/>
                  <a:pt x="5195354" y="299826"/>
                  <a:pt x="5110576" y="0"/>
                </a:cubicBezTo>
                <a:close/>
                <a:moveTo>
                  <a:pt x="4492246" y="0"/>
                </a:moveTo>
                <a:lnTo>
                  <a:pt x="4700955" y="0"/>
                </a:lnTo>
                <a:cubicBezTo>
                  <a:pt x="4535485" y="98005"/>
                  <a:pt x="4416076" y="260867"/>
                  <a:pt x="4378225" y="451830"/>
                </a:cubicBezTo>
                <a:cubicBezTo>
                  <a:pt x="4622279" y="399791"/>
                  <a:pt x="4818867" y="226290"/>
                  <a:pt x="4896763" y="0"/>
                </a:cubicBezTo>
                <a:lnTo>
                  <a:pt x="5030779" y="0"/>
                </a:lnTo>
                <a:cubicBezTo>
                  <a:pt x="4946001" y="299826"/>
                  <a:pt x="4686729" y="529393"/>
                  <a:pt x="4364853" y="582253"/>
                </a:cubicBezTo>
                <a:lnTo>
                  <a:pt x="4364737" y="583392"/>
                </a:lnTo>
                <a:cubicBezTo>
                  <a:pt x="4359427" y="584395"/>
                  <a:pt x="4354098" y="585336"/>
                  <a:pt x="4348521" y="584920"/>
                </a:cubicBezTo>
                <a:cubicBezTo>
                  <a:pt x="4317350" y="590430"/>
                  <a:pt x="4285468" y="593388"/>
                  <a:pt x="4253094" y="593911"/>
                </a:cubicBezTo>
                <a:lnTo>
                  <a:pt x="4235976" y="595524"/>
                </a:lnTo>
                <a:lnTo>
                  <a:pt x="4235950" y="595033"/>
                </a:lnTo>
                <a:lnTo>
                  <a:pt x="4235451" y="595066"/>
                </a:lnTo>
                <a:cubicBezTo>
                  <a:pt x="4234885" y="591293"/>
                  <a:pt x="4234858" y="587507"/>
                  <a:pt x="4234858" y="583715"/>
                </a:cubicBezTo>
                <a:cubicBezTo>
                  <a:pt x="4234858" y="578078"/>
                  <a:pt x="4234916" y="572454"/>
                  <a:pt x="4236228" y="566868"/>
                </a:cubicBezTo>
                <a:cubicBezTo>
                  <a:pt x="4236186" y="535786"/>
                  <a:pt x="4238636" y="505143"/>
                  <a:pt x="4243692" y="475137"/>
                </a:cubicBezTo>
                <a:lnTo>
                  <a:pt x="4244233" y="468500"/>
                </a:lnTo>
                <a:cubicBezTo>
                  <a:pt x="4244401" y="468495"/>
                  <a:pt x="4244571" y="468490"/>
                  <a:pt x="4244738" y="468437"/>
                </a:cubicBezTo>
                <a:cubicBezTo>
                  <a:pt x="4271041" y="285283"/>
                  <a:pt x="4360502" y="121704"/>
                  <a:pt x="4492246" y="0"/>
                </a:cubicBezTo>
                <a:close/>
                <a:moveTo>
                  <a:pt x="3418424" y="0"/>
                </a:moveTo>
                <a:lnTo>
                  <a:pt x="3552441" y="0"/>
                </a:lnTo>
                <a:cubicBezTo>
                  <a:pt x="3630337" y="226291"/>
                  <a:pt x="3826926" y="399791"/>
                  <a:pt x="4070978" y="451830"/>
                </a:cubicBezTo>
                <a:cubicBezTo>
                  <a:pt x="4033127" y="260867"/>
                  <a:pt x="3913719" y="98005"/>
                  <a:pt x="3748249" y="0"/>
                </a:cubicBezTo>
                <a:lnTo>
                  <a:pt x="3956957" y="0"/>
                </a:lnTo>
                <a:cubicBezTo>
                  <a:pt x="4088702" y="121703"/>
                  <a:pt x="4178162" y="285283"/>
                  <a:pt x="4204464" y="468437"/>
                </a:cubicBezTo>
                <a:cubicBezTo>
                  <a:pt x="4204632" y="468490"/>
                  <a:pt x="4204801" y="468495"/>
                  <a:pt x="4204970" y="468499"/>
                </a:cubicBezTo>
                <a:lnTo>
                  <a:pt x="4205510" y="475137"/>
                </a:lnTo>
                <a:cubicBezTo>
                  <a:pt x="4210567" y="505143"/>
                  <a:pt x="4213016" y="535786"/>
                  <a:pt x="4212974" y="566868"/>
                </a:cubicBezTo>
                <a:cubicBezTo>
                  <a:pt x="4214286" y="572454"/>
                  <a:pt x="4214345" y="578078"/>
                  <a:pt x="4214345" y="583715"/>
                </a:cubicBezTo>
                <a:cubicBezTo>
                  <a:pt x="4214345" y="587508"/>
                  <a:pt x="4214318" y="591293"/>
                  <a:pt x="4213752" y="595066"/>
                </a:cubicBezTo>
                <a:lnTo>
                  <a:pt x="4213253" y="595033"/>
                </a:lnTo>
                <a:lnTo>
                  <a:pt x="4213227" y="595524"/>
                </a:lnTo>
                <a:lnTo>
                  <a:pt x="4196108" y="593911"/>
                </a:lnTo>
                <a:cubicBezTo>
                  <a:pt x="4163734" y="593388"/>
                  <a:pt x="4131854" y="590430"/>
                  <a:pt x="4100682" y="584920"/>
                </a:cubicBezTo>
                <a:cubicBezTo>
                  <a:pt x="4095105" y="585336"/>
                  <a:pt x="4089776" y="584395"/>
                  <a:pt x="4084465" y="583392"/>
                </a:cubicBezTo>
                <a:lnTo>
                  <a:pt x="4084349" y="582253"/>
                </a:lnTo>
                <a:cubicBezTo>
                  <a:pt x="3762475" y="529393"/>
                  <a:pt x="3503203" y="299826"/>
                  <a:pt x="3418424" y="0"/>
                </a:cubicBezTo>
                <a:close/>
                <a:moveTo>
                  <a:pt x="2800095" y="0"/>
                </a:moveTo>
                <a:lnTo>
                  <a:pt x="3008804" y="0"/>
                </a:lnTo>
                <a:cubicBezTo>
                  <a:pt x="2843334" y="98005"/>
                  <a:pt x="2723925" y="260867"/>
                  <a:pt x="2686074" y="451830"/>
                </a:cubicBezTo>
                <a:cubicBezTo>
                  <a:pt x="2930126" y="399791"/>
                  <a:pt x="3126716" y="226291"/>
                  <a:pt x="3204612" y="0"/>
                </a:cubicBezTo>
                <a:lnTo>
                  <a:pt x="3338628" y="0"/>
                </a:lnTo>
                <a:cubicBezTo>
                  <a:pt x="3253850" y="299826"/>
                  <a:pt x="2994578" y="529393"/>
                  <a:pt x="2672703" y="582253"/>
                </a:cubicBezTo>
                <a:lnTo>
                  <a:pt x="2672586" y="583392"/>
                </a:lnTo>
                <a:cubicBezTo>
                  <a:pt x="2667276" y="584395"/>
                  <a:pt x="2661947" y="585336"/>
                  <a:pt x="2656370" y="584920"/>
                </a:cubicBezTo>
                <a:cubicBezTo>
                  <a:pt x="2625198" y="590430"/>
                  <a:pt x="2593318" y="593388"/>
                  <a:pt x="2560943" y="593911"/>
                </a:cubicBezTo>
                <a:lnTo>
                  <a:pt x="2543825" y="595524"/>
                </a:lnTo>
                <a:lnTo>
                  <a:pt x="2543799" y="595033"/>
                </a:lnTo>
                <a:lnTo>
                  <a:pt x="2543300" y="595066"/>
                </a:lnTo>
                <a:cubicBezTo>
                  <a:pt x="2542734" y="591293"/>
                  <a:pt x="2542707" y="587507"/>
                  <a:pt x="2542707" y="583715"/>
                </a:cubicBezTo>
                <a:cubicBezTo>
                  <a:pt x="2542707" y="578078"/>
                  <a:pt x="2542765" y="572454"/>
                  <a:pt x="2544077" y="566868"/>
                </a:cubicBezTo>
                <a:cubicBezTo>
                  <a:pt x="2544035" y="535786"/>
                  <a:pt x="2546485" y="505143"/>
                  <a:pt x="2551541" y="475137"/>
                </a:cubicBezTo>
                <a:lnTo>
                  <a:pt x="2552082" y="468499"/>
                </a:lnTo>
                <a:cubicBezTo>
                  <a:pt x="2552250" y="468495"/>
                  <a:pt x="2552420" y="468490"/>
                  <a:pt x="2552587" y="468437"/>
                </a:cubicBezTo>
                <a:cubicBezTo>
                  <a:pt x="2578890" y="285283"/>
                  <a:pt x="2668350" y="121703"/>
                  <a:pt x="2800095" y="0"/>
                </a:cubicBezTo>
                <a:close/>
                <a:moveTo>
                  <a:pt x="1726273" y="0"/>
                </a:moveTo>
                <a:lnTo>
                  <a:pt x="1860290" y="0"/>
                </a:lnTo>
                <a:cubicBezTo>
                  <a:pt x="1938186" y="226291"/>
                  <a:pt x="2134775" y="399791"/>
                  <a:pt x="2378827" y="451830"/>
                </a:cubicBezTo>
                <a:cubicBezTo>
                  <a:pt x="2340976" y="260867"/>
                  <a:pt x="2221567" y="98005"/>
                  <a:pt x="2056098" y="0"/>
                </a:cubicBezTo>
                <a:lnTo>
                  <a:pt x="2264806" y="0"/>
                </a:lnTo>
                <a:cubicBezTo>
                  <a:pt x="2396551" y="121703"/>
                  <a:pt x="2486011" y="285283"/>
                  <a:pt x="2512313" y="468437"/>
                </a:cubicBezTo>
                <a:cubicBezTo>
                  <a:pt x="2512481" y="468490"/>
                  <a:pt x="2512650" y="468495"/>
                  <a:pt x="2512819" y="468499"/>
                </a:cubicBezTo>
                <a:lnTo>
                  <a:pt x="2513359" y="475137"/>
                </a:lnTo>
                <a:cubicBezTo>
                  <a:pt x="2518416" y="505143"/>
                  <a:pt x="2520865" y="535786"/>
                  <a:pt x="2520823" y="566868"/>
                </a:cubicBezTo>
                <a:cubicBezTo>
                  <a:pt x="2522135" y="572454"/>
                  <a:pt x="2522194" y="578078"/>
                  <a:pt x="2522194" y="583715"/>
                </a:cubicBezTo>
                <a:cubicBezTo>
                  <a:pt x="2522194" y="587508"/>
                  <a:pt x="2522167" y="591293"/>
                  <a:pt x="2521601" y="595066"/>
                </a:cubicBezTo>
                <a:lnTo>
                  <a:pt x="2521102" y="595033"/>
                </a:lnTo>
                <a:lnTo>
                  <a:pt x="2521076" y="595524"/>
                </a:lnTo>
                <a:lnTo>
                  <a:pt x="2503957" y="593911"/>
                </a:lnTo>
                <a:cubicBezTo>
                  <a:pt x="2471583" y="593388"/>
                  <a:pt x="2439703" y="590430"/>
                  <a:pt x="2408531" y="584920"/>
                </a:cubicBezTo>
                <a:cubicBezTo>
                  <a:pt x="2402954" y="585336"/>
                  <a:pt x="2397625" y="584395"/>
                  <a:pt x="2392314" y="583392"/>
                </a:cubicBezTo>
                <a:lnTo>
                  <a:pt x="2392198" y="582253"/>
                </a:lnTo>
                <a:cubicBezTo>
                  <a:pt x="2070324" y="529393"/>
                  <a:pt x="1811051" y="299826"/>
                  <a:pt x="1726273" y="0"/>
                </a:cubicBezTo>
                <a:close/>
                <a:moveTo>
                  <a:pt x="1107944" y="0"/>
                </a:moveTo>
                <a:lnTo>
                  <a:pt x="1316652" y="0"/>
                </a:lnTo>
                <a:cubicBezTo>
                  <a:pt x="1151183" y="98005"/>
                  <a:pt x="1031774" y="260867"/>
                  <a:pt x="993923" y="451830"/>
                </a:cubicBezTo>
                <a:cubicBezTo>
                  <a:pt x="1237975" y="399791"/>
                  <a:pt x="1434564" y="226291"/>
                  <a:pt x="1512461" y="0"/>
                </a:cubicBezTo>
                <a:lnTo>
                  <a:pt x="1646477" y="0"/>
                </a:lnTo>
                <a:cubicBezTo>
                  <a:pt x="1561699" y="299826"/>
                  <a:pt x="1302427" y="529393"/>
                  <a:pt x="980552" y="582253"/>
                </a:cubicBezTo>
                <a:lnTo>
                  <a:pt x="980435" y="583392"/>
                </a:lnTo>
                <a:cubicBezTo>
                  <a:pt x="975125" y="584395"/>
                  <a:pt x="969796" y="585336"/>
                  <a:pt x="964219" y="584920"/>
                </a:cubicBezTo>
                <a:cubicBezTo>
                  <a:pt x="933047" y="590430"/>
                  <a:pt x="901167" y="593388"/>
                  <a:pt x="868792" y="593911"/>
                </a:cubicBezTo>
                <a:lnTo>
                  <a:pt x="851674" y="595524"/>
                </a:lnTo>
                <a:lnTo>
                  <a:pt x="851648" y="595033"/>
                </a:lnTo>
                <a:lnTo>
                  <a:pt x="851149" y="595066"/>
                </a:lnTo>
                <a:cubicBezTo>
                  <a:pt x="850583" y="591293"/>
                  <a:pt x="850556" y="587507"/>
                  <a:pt x="850556" y="583715"/>
                </a:cubicBezTo>
                <a:cubicBezTo>
                  <a:pt x="850556" y="578078"/>
                  <a:pt x="850614" y="572454"/>
                  <a:pt x="851926" y="566868"/>
                </a:cubicBezTo>
                <a:cubicBezTo>
                  <a:pt x="851884" y="535786"/>
                  <a:pt x="854334" y="505143"/>
                  <a:pt x="859390" y="475137"/>
                </a:cubicBezTo>
                <a:lnTo>
                  <a:pt x="859931" y="468499"/>
                </a:lnTo>
                <a:cubicBezTo>
                  <a:pt x="860099" y="468495"/>
                  <a:pt x="860269" y="468490"/>
                  <a:pt x="860436" y="468437"/>
                </a:cubicBezTo>
                <a:cubicBezTo>
                  <a:pt x="886739" y="285283"/>
                  <a:pt x="976199" y="121704"/>
                  <a:pt x="1107944" y="0"/>
                </a:cubicBezTo>
                <a:close/>
                <a:moveTo>
                  <a:pt x="34122" y="0"/>
                </a:moveTo>
                <a:lnTo>
                  <a:pt x="168138" y="0"/>
                </a:lnTo>
                <a:cubicBezTo>
                  <a:pt x="246034" y="226290"/>
                  <a:pt x="442624" y="399791"/>
                  <a:pt x="686676" y="451830"/>
                </a:cubicBezTo>
                <a:cubicBezTo>
                  <a:pt x="648825" y="260867"/>
                  <a:pt x="529416" y="98005"/>
                  <a:pt x="363946" y="0"/>
                </a:cubicBezTo>
                <a:lnTo>
                  <a:pt x="572655" y="0"/>
                </a:lnTo>
                <a:cubicBezTo>
                  <a:pt x="704400" y="121703"/>
                  <a:pt x="793860" y="285283"/>
                  <a:pt x="820162" y="468437"/>
                </a:cubicBezTo>
                <a:cubicBezTo>
                  <a:pt x="820330" y="468490"/>
                  <a:pt x="820499" y="468495"/>
                  <a:pt x="820668" y="468500"/>
                </a:cubicBezTo>
                <a:lnTo>
                  <a:pt x="821208" y="475137"/>
                </a:lnTo>
                <a:cubicBezTo>
                  <a:pt x="826265" y="505143"/>
                  <a:pt x="828714" y="535786"/>
                  <a:pt x="828672" y="566868"/>
                </a:cubicBezTo>
                <a:cubicBezTo>
                  <a:pt x="829984" y="572454"/>
                  <a:pt x="830043" y="578078"/>
                  <a:pt x="830043" y="583715"/>
                </a:cubicBezTo>
                <a:cubicBezTo>
                  <a:pt x="830043" y="587508"/>
                  <a:pt x="830016" y="591293"/>
                  <a:pt x="829450" y="595066"/>
                </a:cubicBezTo>
                <a:lnTo>
                  <a:pt x="828951" y="595033"/>
                </a:lnTo>
                <a:lnTo>
                  <a:pt x="828925" y="595524"/>
                </a:lnTo>
                <a:lnTo>
                  <a:pt x="811806" y="593911"/>
                </a:lnTo>
                <a:cubicBezTo>
                  <a:pt x="779432" y="593388"/>
                  <a:pt x="747552" y="590430"/>
                  <a:pt x="716380" y="584920"/>
                </a:cubicBezTo>
                <a:cubicBezTo>
                  <a:pt x="710803" y="585336"/>
                  <a:pt x="705474" y="584395"/>
                  <a:pt x="700163" y="583392"/>
                </a:cubicBezTo>
                <a:lnTo>
                  <a:pt x="700047" y="582253"/>
                </a:lnTo>
                <a:cubicBezTo>
                  <a:pt x="378172" y="529393"/>
                  <a:pt x="118900" y="299826"/>
                  <a:pt x="341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44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fld id="{96DFF08F-DC6B-4601-B491-B0F83F6DD2DA}" type="datetimeFigureOut">
              <a:rPr lang="en-US" dirty="0"/>
              <a:pPr/>
              <a:t>4/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72663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A23F52-D7D7-4281-A998-62A5C3D5F85F}" type="datetime1">
              <a:rPr lang="en-US" smtClean="0"/>
              <a:t>4/21/2023</a:t>
            </a:fld>
            <a:endParaRPr lang="en-US"/>
          </a:p>
        </p:txBody>
      </p:sp>
      <p:sp>
        <p:nvSpPr>
          <p:cNvPr id="5" name="Footer Placeholder 4"/>
          <p:cNvSpPr>
            <a:spLocks noGrp="1"/>
          </p:cNvSpPr>
          <p:nvPr>
            <p:ph type="ftr" sz="quarter" idx="11"/>
          </p:nvPr>
        </p:nvSpPr>
        <p:spPr/>
        <p:txBody>
          <a:bodyPr/>
          <a:lstStyle/>
          <a:p>
            <a:r>
              <a:rPr lang="en-GB"/>
              <a:t>Source: Thomson Reuters InCites</a:t>
            </a:r>
            <a:endParaRPr lang="en-US"/>
          </a:p>
        </p:txBody>
      </p:sp>
      <p:sp>
        <p:nvSpPr>
          <p:cNvPr id="6" name="Slide Number Placeholder 5"/>
          <p:cNvSpPr>
            <a:spLocks noGrp="1"/>
          </p:cNvSpPr>
          <p:nvPr>
            <p:ph type="sldNum" sz="quarter" idx="12"/>
          </p:nvPr>
        </p:nvSpPr>
        <p:spPr/>
        <p:txBody>
          <a:bodyPr/>
          <a:lstStyle/>
          <a:p>
            <a:fld id="{564D0634-1A0A-B541-AC05-4EA2F39852A1}" type="slidenum">
              <a:rPr lang="en-US" smtClean="0"/>
              <a:t>‹#›</a:t>
            </a:fld>
            <a:endParaRPr lang="en-US"/>
          </a:p>
        </p:txBody>
      </p:sp>
    </p:spTree>
    <p:extLst>
      <p:ext uri="{BB962C8B-B14F-4D97-AF65-F5344CB8AC3E}">
        <p14:creationId xmlns:p14="http://schemas.microsoft.com/office/powerpoint/2010/main" val="21987718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9" name="Rectangle 8"/>
          <p:cNvSpPr/>
          <p:nvPr/>
        </p:nvSpPr>
        <p:spPr>
          <a:xfrm>
            <a:off x="0" y="1"/>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10"/>
          <p:cNvSpPr/>
          <p:nvPr/>
        </p:nvSpPr>
        <p:spPr>
          <a:xfrm>
            <a:off x="6350" y="1"/>
            <a:ext cx="12185652" cy="4572001"/>
          </a:xfrm>
          <a:custGeom>
            <a:avLst/>
            <a:gdLst/>
            <a:ahLst/>
            <a:cxnLst/>
            <a:rect l="l" t="t" r="r" b="b"/>
            <a:pathLst>
              <a:path w="9139239" h="4572001">
                <a:moveTo>
                  <a:pt x="9139239" y="4171458"/>
                </a:moveTo>
                <a:lnTo>
                  <a:pt x="9139239" y="4479120"/>
                </a:lnTo>
                <a:lnTo>
                  <a:pt x="9061857" y="4572001"/>
                </a:lnTo>
                <a:lnTo>
                  <a:pt x="8867616" y="4572001"/>
                </a:lnTo>
                <a:cubicBezTo>
                  <a:pt x="8974940" y="4496648"/>
                  <a:pt x="9059271" y="4392377"/>
                  <a:pt x="9109281" y="4270954"/>
                </a:cubicBezTo>
                <a:close/>
                <a:moveTo>
                  <a:pt x="9139239" y="4017903"/>
                </a:moveTo>
                <a:lnTo>
                  <a:pt x="9139239" y="4146549"/>
                </a:lnTo>
                <a:lnTo>
                  <a:pt x="9061849" y="4168266"/>
                </a:lnTo>
                <a:cubicBezTo>
                  <a:pt x="8867508" y="4236060"/>
                  <a:pt x="8712637" y="4384208"/>
                  <a:pt x="8639677" y="4572001"/>
                </a:cubicBezTo>
                <a:lnTo>
                  <a:pt x="8502130" y="4572001"/>
                </a:lnTo>
                <a:cubicBezTo>
                  <a:pt x="8583823" y="4319597"/>
                  <a:pt x="8787913" y="4120306"/>
                  <a:pt x="9046727" y="4039822"/>
                </a:cubicBezTo>
                <a:close/>
                <a:moveTo>
                  <a:pt x="7620280" y="3999419"/>
                </a:moveTo>
                <a:lnTo>
                  <a:pt x="7637367" y="4001042"/>
                </a:lnTo>
                <a:cubicBezTo>
                  <a:pt x="7669753" y="4001569"/>
                  <a:pt x="7701646" y="4004550"/>
                  <a:pt x="7732829" y="4010107"/>
                </a:cubicBezTo>
                <a:cubicBezTo>
                  <a:pt x="7738405" y="4009688"/>
                  <a:pt x="7743733" y="4010636"/>
                  <a:pt x="7749042" y="4011646"/>
                </a:cubicBezTo>
                <a:lnTo>
                  <a:pt x="7749159" y="4012794"/>
                </a:lnTo>
                <a:cubicBezTo>
                  <a:pt x="8061238" y="4064450"/>
                  <a:pt x="8314467" y="4283539"/>
                  <a:pt x="8407830" y="4572001"/>
                </a:cubicBezTo>
                <a:lnTo>
                  <a:pt x="8270283" y="4572001"/>
                </a:lnTo>
                <a:cubicBezTo>
                  <a:pt x="8186900" y="4357380"/>
                  <a:pt x="7996531" y="4194541"/>
                  <a:pt x="7762529" y="4144250"/>
                </a:cubicBezTo>
                <a:cubicBezTo>
                  <a:pt x="7797023" y="4319651"/>
                  <a:pt x="7899246" y="4471530"/>
                  <a:pt x="8042344" y="4572001"/>
                </a:cubicBezTo>
                <a:lnTo>
                  <a:pt x="7848103" y="4572001"/>
                </a:lnTo>
                <a:cubicBezTo>
                  <a:pt x="7731971" y="4452596"/>
                  <a:pt x="7653409" y="4298519"/>
                  <a:pt x="7629044" y="4127511"/>
                </a:cubicBezTo>
                <a:cubicBezTo>
                  <a:pt x="7628876" y="4127458"/>
                  <a:pt x="7628708" y="4127453"/>
                  <a:pt x="7628538" y="4127448"/>
                </a:cubicBezTo>
                <a:lnTo>
                  <a:pt x="7628000" y="4120772"/>
                </a:lnTo>
                <a:cubicBezTo>
                  <a:pt x="7622941" y="4090522"/>
                  <a:pt x="7620490" y="4059631"/>
                  <a:pt x="7620533" y="4028296"/>
                </a:cubicBezTo>
                <a:cubicBezTo>
                  <a:pt x="7619221" y="4022668"/>
                  <a:pt x="7619162" y="4017001"/>
                  <a:pt x="7619162" y="4011320"/>
                </a:cubicBezTo>
                <a:lnTo>
                  <a:pt x="7619756" y="3999880"/>
                </a:lnTo>
                <a:lnTo>
                  <a:pt x="7620254" y="3999913"/>
                </a:lnTo>
                <a:close/>
                <a:moveTo>
                  <a:pt x="7597529" y="3999419"/>
                </a:moveTo>
                <a:lnTo>
                  <a:pt x="7597555" y="3999913"/>
                </a:lnTo>
                <a:lnTo>
                  <a:pt x="7598053" y="3999880"/>
                </a:lnTo>
                <a:lnTo>
                  <a:pt x="7598647" y="4011320"/>
                </a:lnTo>
                <a:cubicBezTo>
                  <a:pt x="7598647" y="4017001"/>
                  <a:pt x="7598588" y="4022668"/>
                  <a:pt x="7597276" y="4028296"/>
                </a:cubicBezTo>
                <a:cubicBezTo>
                  <a:pt x="7597319" y="4059631"/>
                  <a:pt x="7594868" y="4090522"/>
                  <a:pt x="7589809" y="4120772"/>
                </a:cubicBezTo>
                <a:lnTo>
                  <a:pt x="7589271" y="4127448"/>
                </a:lnTo>
                <a:cubicBezTo>
                  <a:pt x="7589101" y="4127453"/>
                  <a:pt x="7588933" y="4127458"/>
                  <a:pt x="7588765" y="4127511"/>
                </a:cubicBezTo>
                <a:cubicBezTo>
                  <a:pt x="7564400" y="4298519"/>
                  <a:pt x="7485838" y="4452596"/>
                  <a:pt x="7369706" y="4572001"/>
                </a:cubicBezTo>
                <a:lnTo>
                  <a:pt x="7175465" y="4572001"/>
                </a:lnTo>
                <a:cubicBezTo>
                  <a:pt x="7318563" y="4471530"/>
                  <a:pt x="7420786" y="4319651"/>
                  <a:pt x="7455280" y="4144250"/>
                </a:cubicBezTo>
                <a:cubicBezTo>
                  <a:pt x="7221278" y="4194541"/>
                  <a:pt x="7030909" y="4357380"/>
                  <a:pt x="6947526" y="4572001"/>
                </a:cubicBezTo>
                <a:lnTo>
                  <a:pt x="6809978" y="4572001"/>
                </a:lnTo>
                <a:cubicBezTo>
                  <a:pt x="6903341" y="4283539"/>
                  <a:pt x="7156571" y="4064450"/>
                  <a:pt x="7468650" y="4012794"/>
                </a:cubicBezTo>
                <a:lnTo>
                  <a:pt x="7468767" y="4011646"/>
                </a:lnTo>
                <a:cubicBezTo>
                  <a:pt x="7474076" y="4010636"/>
                  <a:pt x="7479404" y="4009688"/>
                  <a:pt x="7484980" y="4010107"/>
                </a:cubicBezTo>
                <a:cubicBezTo>
                  <a:pt x="7516163" y="4004550"/>
                  <a:pt x="7548056" y="4001569"/>
                  <a:pt x="7580442" y="4001042"/>
                </a:cubicBezTo>
                <a:close/>
                <a:moveTo>
                  <a:pt x="5928129" y="3999419"/>
                </a:moveTo>
                <a:lnTo>
                  <a:pt x="5945217" y="4001042"/>
                </a:lnTo>
                <a:cubicBezTo>
                  <a:pt x="5977602" y="4001569"/>
                  <a:pt x="6009495" y="4004550"/>
                  <a:pt x="6040678" y="4010107"/>
                </a:cubicBezTo>
                <a:cubicBezTo>
                  <a:pt x="6046254" y="4009688"/>
                  <a:pt x="6051582" y="4010636"/>
                  <a:pt x="6056891" y="4011646"/>
                </a:cubicBezTo>
                <a:lnTo>
                  <a:pt x="6057008" y="4012794"/>
                </a:lnTo>
                <a:cubicBezTo>
                  <a:pt x="6369087" y="4064450"/>
                  <a:pt x="6622316" y="4283539"/>
                  <a:pt x="6715680" y="4572001"/>
                </a:cubicBezTo>
                <a:lnTo>
                  <a:pt x="6578131" y="4572001"/>
                </a:lnTo>
                <a:cubicBezTo>
                  <a:pt x="6494748" y="4357380"/>
                  <a:pt x="6304380" y="4194541"/>
                  <a:pt x="6070378" y="4144250"/>
                </a:cubicBezTo>
                <a:cubicBezTo>
                  <a:pt x="6104872" y="4319650"/>
                  <a:pt x="6207095" y="4471530"/>
                  <a:pt x="6350192" y="4572001"/>
                </a:cubicBezTo>
                <a:lnTo>
                  <a:pt x="6155952" y="4572001"/>
                </a:lnTo>
                <a:cubicBezTo>
                  <a:pt x="6039820" y="4452596"/>
                  <a:pt x="5961257" y="4298519"/>
                  <a:pt x="5936893" y="4127511"/>
                </a:cubicBezTo>
                <a:cubicBezTo>
                  <a:pt x="5936725" y="4127458"/>
                  <a:pt x="5936557" y="4127453"/>
                  <a:pt x="5936387" y="4127448"/>
                </a:cubicBezTo>
                <a:lnTo>
                  <a:pt x="5935849" y="4120772"/>
                </a:lnTo>
                <a:cubicBezTo>
                  <a:pt x="5930790" y="4090522"/>
                  <a:pt x="5928340" y="4059631"/>
                  <a:pt x="5928382" y="4028296"/>
                </a:cubicBezTo>
                <a:cubicBezTo>
                  <a:pt x="5927070" y="4022668"/>
                  <a:pt x="5927011" y="4017001"/>
                  <a:pt x="5927011" y="4011320"/>
                </a:cubicBezTo>
                <a:lnTo>
                  <a:pt x="5927605" y="3999880"/>
                </a:lnTo>
                <a:lnTo>
                  <a:pt x="5928103" y="3999913"/>
                </a:lnTo>
                <a:close/>
                <a:moveTo>
                  <a:pt x="5905378" y="3999419"/>
                </a:moveTo>
                <a:lnTo>
                  <a:pt x="5905404" y="3999913"/>
                </a:lnTo>
                <a:lnTo>
                  <a:pt x="5905902" y="3999880"/>
                </a:lnTo>
                <a:lnTo>
                  <a:pt x="5906496" y="4011320"/>
                </a:lnTo>
                <a:cubicBezTo>
                  <a:pt x="5906496" y="4017001"/>
                  <a:pt x="5906437" y="4022668"/>
                  <a:pt x="5905125" y="4028296"/>
                </a:cubicBezTo>
                <a:cubicBezTo>
                  <a:pt x="5905167" y="4059631"/>
                  <a:pt x="5902717" y="4090522"/>
                  <a:pt x="5897658" y="4120772"/>
                </a:cubicBezTo>
                <a:lnTo>
                  <a:pt x="5897120" y="4127448"/>
                </a:lnTo>
                <a:cubicBezTo>
                  <a:pt x="5896950" y="4127453"/>
                  <a:pt x="5896782" y="4127458"/>
                  <a:pt x="5896614" y="4127511"/>
                </a:cubicBezTo>
                <a:cubicBezTo>
                  <a:pt x="5872249" y="4298519"/>
                  <a:pt x="5793686" y="4452596"/>
                  <a:pt x="5677555" y="4572001"/>
                </a:cubicBezTo>
                <a:lnTo>
                  <a:pt x="5483314" y="4572001"/>
                </a:lnTo>
                <a:cubicBezTo>
                  <a:pt x="5626412" y="4471530"/>
                  <a:pt x="5728635" y="4319650"/>
                  <a:pt x="5763129" y="4144250"/>
                </a:cubicBezTo>
                <a:cubicBezTo>
                  <a:pt x="5529126" y="4194541"/>
                  <a:pt x="5338758" y="4357380"/>
                  <a:pt x="5255375" y="4572001"/>
                </a:cubicBezTo>
                <a:lnTo>
                  <a:pt x="5117827" y="4572001"/>
                </a:lnTo>
                <a:cubicBezTo>
                  <a:pt x="5211190" y="4283539"/>
                  <a:pt x="5464420" y="4064450"/>
                  <a:pt x="5776499" y="4012794"/>
                </a:cubicBezTo>
                <a:lnTo>
                  <a:pt x="5776616" y="4011646"/>
                </a:lnTo>
                <a:cubicBezTo>
                  <a:pt x="5781926" y="4010636"/>
                  <a:pt x="5787253" y="4009688"/>
                  <a:pt x="5792829" y="4010107"/>
                </a:cubicBezTo>
                <a:cubicBezTo>
                  <a:pt x="5824012" y="4004550"/>
                  <a:pt x="5855905" y="4001569"/>
                  <a:pt x="5888290" y="4001042"/>
                </a:cubicBezTo>
                <a:close/>
                <a:moveTo>
                  <a:pt x="4235979" y="3999419"/>
                </a:moveTo>
                <a:lnTo>
                  <a:pt x="4253065" y="4001042"/>
                </a:lnTo>
                <a:cubicBezTo>
                  <a:pt x="4285451" y="4001569"/>
                  <a:pt x="4317343" y="4004550"/>
                  <a:pt x="4348528" y="4010107"/>
                </a:cubicBezTo>
                <a:cubicBezTo>
                  <a:pt x="4354104" y="4009688"/>
                  <a:pt x="4359431" y="4010636"/>
                  <a:pt x="4364739" y="4011646"/>
                </a:cubicBezTo>
                <a:lnTo>
                  <a:pt x="4364856" y="4012794"/>
                </a:lnTo>
                <a:cubicBezTo>
                  <a:pt x="4676936" y="4064450"/>
                  <a:pt x="4930165" y="4283539"/>
                  <a:pt x="5023528" y="4572001"/>
                </a:cubicBezTo>
                <a:lnTo>
                  <a:pt x="4885980" y="4572001"/>
                </a:lnTo>
                <a:cubicBezTo>
                  <a:pt x="4802597" y="4357380"/>
                  <a:pt x="4612229" y="4194541"/>
                  <a:pt x="4378227" y="4144250"/>
                </a:cubicBezTo>
                <a:cubicBezTo>
                  <a:pt x="4412722" y="4319651"/>
                  <a:pt x="4514944" y="4471530"/>
                  <a:pt x="4658041" y="4572001"/>
                </a:cubicBezTo>
                <a:lnTo>
                  <a:pt x="4463800" y="4572001"/>
                </a:lnTo>
                <a:cubicBezTo>
                  <a:pt x="4347669" y="4452596"/>
                  <a:pt x="4269106" y="4298519"/>
                  <a:pt x="4244741" y="4127511"/>
                </a:cubicBezTo>
                <a:cubicBezTo>
                  <a:pt x="4244574" y="4127458"/>
                  <a:pt x="4244405" y="4127453"/>
                  <a:pt x="4244236" y="4127448"/>
                </a:cubicBezTo>
                <a:lnTo>
                  <a:pt x="4243697" y="4120772"/>
                </a:lnTo>
                <a:cubicBezTo>
                  <a:pt x="4238639" y="4090522"/>
                  <a:pt x="4236188" y="4059631"/>
                  <a:pt x="4236230" y="4028296"/>
                </a:cubicBezTo>
                <a:cubicBezTo>
                  <a:pt x="4234918" y="4022668"/>
                  <a:pt x="4234860" y="4017001"/>
                  <a:pt x="4234860" y="4011320"/>
                </a:cubicBezTo>
                <a:lnTo>
                  <a:pt x="4235454" y="3999880"/>
                </a:lnTo>
                <a:lnTo>
                  <a:pt x="4235952" y="3999913"/>
                </a:lnTo>
                <a:close/>
                <a:moveTo>
                  <a:pt x="4213227" y="3999419"/>
                </a:moveTo>
                <a:lnTo>
                  <a:pt x="4213253" y="3999913"/>
                </a:lnTo>
                <a:lnTo>
                  <a:pt x="4213751" y="3999880"/>
                </a:lnTo>
                <a:lnTo>
                  <a:pt x="4214345" y="4011320"/>
                </a:lnTo>
                <a:cubicBezTo>
                  <a:pt x="4214345" y="4017001"/>
                  <a:pt x="4214286" y="4022668"/>
                  <a:pt x="4212974" y="4028296"/>
                </a:cubicBezTo>
                <a:cubicBezTo>
                  <a:pt x="4213016" y="4059631"/>
                  <a:pt x="4210566" y="4090522"/>
                  <a:pt x="4205507" y="4120772"/>
                </a:cubicBezTo>
                <a:lnTo>
                  <a:pt x="4204969" y="4127448"/>
                </a:lnTo>
                <a:cubicBezTo>
                  <a:pt x="4204799" y="4127453"/>
                  <a:pt x="4204631" y="4127458"/>
                  <a:pt x="4204463" y="4127511"/>
                </a:cubicBezTo>
                <a:cubicBezTo>
                  <a:pt x="4180098" y="4298519"/>
                  <a:pt x="4101535" y="4452596"/>
                  <a:pt x="3985404" y="4572001"/>
                </a:cubicBezTo>
                <a:lnTo>
                  <a:pt x="3791163" y="4572001"/>
                </a:lnTo>
                <a:cubicBezTo>
                  <a:pt x="3934261" y="4471530"/>
                  <a:pt x="4036484" y="4319651"/>
                  <a:pt x="4070978" y="4144250"/>
                </a:cubicBezTo>
                <a:cubicBezTo>
                  <a:pt x="3836975" y="4194541"/>
                  <a:pt x="3646607" y="4357380"/>
                  <a:pt x="3563224" y="4572001"/>
                </a:cubicBezTo>
                <a:lnTo>
                  <a:pt x="3425676" y="4572001"/>
                </a:lnTo>
                <a:cubicBezTo>
                  <a:pt x="3519039" y="4283539"/>
                  <a:pt x="3772269" y="4064450"/>
                  <a:pt x="4084348" y="4012794"/>
                </a:cubicBezTo>
                <a:lnTo>
                  <a:pt x="4084465" y="4011646"/>
                </a:lnTo>
                <a:cubicBezTo>
                  <a:pt x="4089774" y="4010636"/>
                  <a:pt x="4095102" y="4009688"/>
                  <a:pt x="4100678" y="4010107"/>
                </a:cubicBezTo>
                <a:cubicBezTo>
                  <a:pt x="4131861" y="4004550"/>
                  <a:pt x="4163754" y="4001569"/>
                  <a:pt x="4196139" y="4001042"/>
                </a:cubicBezTo>
                <a:close/>
                <a:moveTo>
                  <a:pt x="2543827" y="3999419"/>
                </a:moveTo>
                <a:lnTo>
                  <a:pt x="2560914" y="4001042"/>
                </a:lnTo>
                <a:cubicBezTo>
                  <a:pt x="2593300" y="4001569"/>
                  <a:pt x="2625192" y="4004550"/>
                  <a:pt x="2656376" y="4010107"/>
                </a:cubicBezTo>
                <a:cubicBezTo>
                  <a:pt x="2661952" y="4009688"/>
                  <a:pt x="2667280" y="4010636"/>
                  <a:pt x="2672588" y="4011646"/>
                </a:cubicBezTo>
                <a:lnTo>
                  <a:pt x="2672706" y="4012794"/>
                </a:lnTo>
                <a:cubicBezTo>
                  <a:pt x="2984785" y="4064450"/>
                  <a:pt x="3238014" y="4283539"/>
                  <a:pt x="3331377" y="4572001"/>
                </a:cubicBezTo>
                <a:lnTo>
                  <a:pt x="3193830" y="4572001"/>
                </a:lnTo>
                <a:cubicBezTo>
                  <a:pt x="3110446" y="4357380"/>
                  <a:pt x="2920078" y="4194541"/>
                  <a:pt x="2686076" y="4144250"/>
                </a:cubicBezTo>
                <a:cubicBezTo>
                  <a:pt x="2720570" y="4319650"/>
                  <a:pt x="2822793" y="4471530"/>
                  <a:pt x="2965890" y="4572001"/>
                </a:cubicBezTo>
                <a:lnTo>
                  <a:pt x="2771649" y="4572001"/>
                </a:lnTo>
                <a:cubicBezTo>
                  <a:pt x="2655518" y="4452596"/>
                  <a:pt x="2576955" y="4298519"/>
                  <a:pt x="2552590" y="4127511"/>
                </a:cubicBezTo>
                <a:cubicBezTo>
                  <a:pt x="2552423" y="4127458"/>
                  <a:pt x="2552254" y="4127453"/>
                  <a:pt x="2552085" y="4127448"/>
                </a:cubicBezTo>
                <a:lnTo>
                  <a:pt x="2551547" y="4120772"/>
                </a:lnTo>
                <a:cubicBezTo>
                  <a:pt x="2546488" y="4090522"/>
                  <a:pt x="2544037" y="4059631"/>
                  <a:pt x="2544079" y="4028296"/>
                </a:cubicBezTo>
                <a:cubicBezTo>
                  <a:pt x="2542767" y="4022668"/>
                  <a:pt x="2542709" y="4017001"/>
                  <a:pt x="2542709" y="4011320"/>
                </a:cubicBezTo>
                <a:lnTo>
                  <a:pt x="2543303" y="3999880"/>
                </a:lnTo>
                <a:lnTo>
                  <a:pt x="2543801" y="3999913"/>
                </a:lnTo>
                <a:close/>
                <a:moveTo>
                  <a:pt x="2521076" y="3999419"/>
                </a:moveTo>
                <a:lnTo>
                  <a:pt x="2521102" y="3999913"/>
                </a:lnTo>
                <a:lnTo>
                  <a:pt x="2521600" y="3999880"/>
                </a:lnTo>
                <a:lnTo>
                  <a:pt x="2522194" y="4011320"/>
                </a:lnTo>
                <a:cubicBezTo>
                  <a:pt x="2522194" y="4017001"/>
                  <a:pt x="2522135" y="4022668"/>
                  <a:pt x="2520823" y="4028296"/>
                </a:cubicBezTo>
                <a:cubicBezTo>
                  <a:pt x="2520865" y="4059631"/>
                  <a:pt x="2518415" y="4090522"/>
                  <a:pt x="2513356" y="4120772"/>
                </a:cubicBezTo>
                <a:lnTo>
                  <a:pt x="2512818" y="4127448"/>
                </a:lnTo>
                <a:cubicBezTo>
                  <a:pt x="2512648" y="4127453"/>
                  <a:pt x="2512480" y="4127458"/>
                  <a:pt x="2512312" y="4127511"/>
                </a:cubicBezTo>
                <a:cubicBezTo>
                  <a:pt x="2487947" y="4298519"/>
                  <a:pt x="2409385" y="4452596"/>
                  <a:pt x="2293253" y="4572001"/>
                </a:cubicBezTo>
                <a:lnTo>
                  <a:pt x="2099012" y="4572001"/>
                </a:lnTo>
                <a:cubicBezTo>
                  <a:pt x="2242110" y="4471530"/>
                  <a:pt x="2344333" y="4319651"/>
                  <a:pt x="2378827" y="4144250"/>
                </a:cubicBezTo>
                <a:cubicBezTo>
                  <a:pt x="2144825" y="4194541"/>
                  <a:pt x="1954456" y="4357380"/>
                  <a:pt x="1871073" y="4572001"/>
                </a:cubicBezTo>
                <a:lnTo>
                  <a:pt x="1733525" y="4572001"/>
                </a:lnTo>
                <a:cubicBezTo>
                  <a:pt x="1826888" y="4283539"/>
                  <a:pt x="2080118" y="4064450"/>
                  <a:pt x="2392197" y="4012794"/>
                </a:cubicBezTo>
                <a:lnTo>
                  <a:pt x="2392314" y="4011646"/>
                </a:lnTo>
                <a:cubicBezTo>
                  <a:pt x="2397623" y="4010636"/>
                  <a:pt x="2402951" y="4009688"/>
                  <a:pt x="2408527" y="4010107"/>
                </a:cubicBezTo>
                <a:cubicBezTo>
                  <a:pt x="2439710" y="4004550"/>
                  <a:pt x="2471603" y="4001569"/>
                  <a:pt x="2503988" y="4001042"/>
                </a:cubicBezTo>
                <a:close/>
                <a:moveTo>
                  <a:pt x="851676" y="3999419"/>
                </a:moveTo>
                <a:lnTo>
                  <a:pt x="868763" y="4001042"/>
                </a:lnTo>
                <a:cubicBezTo>
                  <a:pt x="901149" y="4001569"/>
                  <a:pt x="933041" y="4004550"/>
                  <a:pt x="964225" y="4010107"/>
                </a:cubicBezTo>
                <a:cubicBezTo>
                  <a:pt x="969801" y="4009688"/>
                  <a:pt x="975129" y="4010636"/>
                  <a:pt x="980437" y="4011646"/>
                </a:cubicBezTo>
                <a:lnTo>
                  <a:pt x="980555" y="4012794"/>
                </a:lnTo>
                <a:cubicBezTo>
                  <a:pt x="1292634" y="4064450"/>
                  <a:pt x="1545864" y="4283539"/>
                  <a:pt x="1639226" y="4572001"/>
                </a:cubicBezTo>
                <a:lnTo>
                  <a:pt x="1501679" y="4572001"/>
                </a:lnTo>
                <a:cubicBezTo>
                  <a:pt x="1418296" y="4357380"/>
                  <a:pt x="1227927" y="4194541"/>
                  <a:pt x="993925" y="4144250"/>
                </a:cubicBezTo>
                <a:cubicBezTo>
                  <a:pt x="1028419" y="4319651"/>
                  <a:pt x="1130642" y="4471530"/>
                  <a:pt x="1273740" y="4572001"/>
                </a:cubicBezTo>
                <a:lnTo>
                  <a:pt x="1079499" y="4572001"/>
                </a:lnTo>
                <a:cubicBezTo>
                  <a:pt x="963367" y="4452596"/>
                  <a:pt x="884804" y="4298519"/>
                  <a:pt x="860439" y="4127511"/>
                </a:cubicBezTo>
                <a:cubicBezTo>
                  <a:pt x="860272" y="4127458"/>
                  <a:pt x="860103" y="4127453"/>
                  <a:pt x="859934" y="4127448"/>
                </a:cubicBezTo>
                <a:lnTo>
                  <a:pt x="859396" y="4120772"/>
                </a:lnTo>
                <a:cubicBezTo>
                  <a:pt x="854337" y="4090522"/>
                  <a:pt x="851886" y="4059631"/>
                  <a:pt x="851928" y="4028296"/>
                </a:cubicBezTo>
                <a:cubicBezTo>
                  <a:pt x="850616" y="4022668"/>
                  <a:pt x="850558" y="4017001"/>
                  <a:pt x="850558" y="4011320"/>
                </a:cubicBezTo>
                <a:lnTo>
                  <a:pt x="851152" y="3999880"/>
                </a:lnTo>
                <a:lnTo>
                  <a:pt x="851650" y="3999913"/>
                </a:lnTo>
                <a:close/>
                <a:moveTo>
                  <a:pt x="828925" y="3999419"/>
                </a:moveTo>
                <a:lnTo>
                  <a:pt x="828951" y="3999913"/>
                </a:lnTo>
                <a:lnTo>
                  <a:pt x="829449" y="3999880"/>
                </a:lnTo>
                <a:lnTo>
                  <a:pt x="830043" y="4011320"/>
                </a:lnTo>
                <a:cubicBezTo>
                  <a:pt x="830043" y="4017001"/>
                  <a:pt x="829984" y="4022668"/>
                  <a:pt x="828672" y="4028296"/>
                </a:cubicBezTo>
                <a:cubicBezTo>
                  <a:pt x="828714" y="4059631"/>
                  <a:pt x="826264" y="4090522"/>
                  <a:pt x="821205" y="4120772"/>
                </a:cubicBezTo>
                <a:lnTo>
                  <a:pt x="820667" y="4127448"/>
                </a:lnTo>
                <a:cubicBezTo>
                  <a:pt x="820497" y="4127453"/>
                  <a:pt x="820329" y="4127458"/>
                  <a:pt x="820161" y="4127511"/>
                </a:cubicBezTo>
                <a:cubicBezTo>
                  <a:pt x="795796" y="4298519"/>
                  <a:pt x="717234" y="4452596"/>
                  <a:pt x="601102" y="4572001"/>
                </a:cubicBezTo>
                <a:lnTo>
                  <a:pt x="406861" y="4572001"/>
                </a:lnTo>
                <a:cubicBezTo>
                  <a:pt x="549959" y="4471530"/>
                  <a:pt x="652182" y="4319650"/>
                  <a:pt x="686676" y="4144250"/>
                </a:cubicBezTo>
                <a:cubicBezTo>
                  <a:pt x="452674" y="4194541"/>
                  <a:pt x="262305" y="4357380"/>
                  <a:pt x="178922" y="4572001"/>
                </a:cubicBezTo>
                <a:lnTo>
                  <a:pt x="41374" y="4572001"/>
                </a:lnTo>
                <a:cubicBezTo>
                  <a:pt x="134738" y="4283539"/>
                  <a:pt x="387967" y="4064450"/>
                  <a:pt x="700046" y="4012794"/>
                </a:cubicBezTo>
                <a:lnTo>
                  <a:pt x="700163" y="4011646"/>
                </a:lnTo>
                <a:cubicBezTo>
                  <a:pt x="705472" y="4010636"/>
                  <a:pt x="710800" y="4009688"/>
                  <a:pt x="716376" y="4010107"/>
                </a:cubicBezTo>
                <a:cubicBezTo>
                  <a:pt x="747559" y="4004550"/>
                  <a:pt x="779452" y="4001569"/>
                  <a:pt x="811837" y="4001042"/>
                </a:cubicBezTo>
                <a:close/>
                <a:moveTo>
                  <a:pt x="8305836" y="3304913"/>
                </a:moveTo>
                <a:cubicBezTo>
                  <a:pt x="8030646" y="3363591"/>
                  <a:pt x="7815802" y="3576701"/>
                  <a:pt x="7762527" y="3845480"/>
                </a:cubicBezTo>
                <a:cubicBezTo>
                  <a:pt x="8037717" y="3786801"/>
                  <a:pt x="8252560" y="3573691"/>
                  <a:pt x="8305836" y="3304913"/>
                </a:cubicBezTo>
                <a:close/>
                <a:moveTo>
                  <a:pt x="6911971" y="3304913"/>
                </a:moveTo>
                <a:cubicBezTo>
                  <a:pt x="6965247" y="3573691"/>
                  <a:pt x="7180090" y="3786801"/>
                  <a:pt x="7455280" y="3845480"/>
                </a:cubicBezTo>
                <a:cubicBezTo>
                  <a:pt x="7402005" y="3576701"/>
                  <a:pt x="7187161" y="3363591"/>
                  <a:pt x="6911971" y="3304913"/>
                </a:cubicBezTo>
                <a:close/>
                <a:moveTo>
                  <a:pt x="6613685" y="3304913"/>
                </a:moveTo>
                <a:cubicBezTo>
                  <a:pt x="6338495" y="3363591"/>
                  <a:pt x="6123651" y="3576701"/>
                  <a:pt x="6070376" y="3845480"/>
                </a:cubicBezTo>
                <a:cubicBezTo>
                  <a:pt x="6345566" y="3786801"/>
                  <a:pt x="6560409" y="3573691"/>
                  <a:pt x="6613685" y="3304913"/>
                </a:cubicBezTo>
                <a:close/>
                <a:moveTo>
                  <a:pt x="5219820" y="3304913"/>
                </a:moveTo>
                <a:cubicBezTo>
                  <a:pt x="5273096" y="3573691"/>
                  <a:pt x="5487939" y="3786801"/>
                  <a:pt x="5763129" y="3845480"/>
                </a:cubicBezTo>
                <a:cubicBezTo>
                  <a:pt x="5709854" y="3576701"/>
                  <a:pt x="5495010" y="3363591"/>
                  <a:pt x="5219820" y="3304913"/>
                </a:cubicBezTo>
                <a:close/>
                <a:moveTo>
                  <a:pt x="4921534" y="3304913"/>
                </a:moveTo>
                <a:cubicBezTo>
                  <a:pt x="4646344" y="3363591"/>
                  <a:pt x="4431500" y="3576701"/>
                  <a:pt x="4378225" y="3845480"/>
                </a:cubicBezTo>
                <a:cubicBezTo>
                  <a:pt x="4653415" y="3786801"/>
                  <a:pt x="4868259" y="3573691"/>
                  <a:pt x="4921534" y="3304913"/>
                </a:cubicBezTo>
                <a:close/>
                <a:moveTo>
                  <a:pt x="3527669" y="3304913"/>
                </a:moveTo>
                <a:cubicBezTo>
                  <a:pt x="3580945" y="3573691"/>
                  <a:pt x="3795788" y="3786801"/>
                  <a:pt x="4070978" y="3845480"/>
                </a:cubicBezTo>
                <a:cubicBezTo>
                  <a:pt x="4017703" y="3576701"/>
                  <a:pt x="3802859" y="3363591"/>
                  <a:pt x="3527669" y="3304913"/>
                </a:cubicBezTo>
                <a:close/>
                <a:moveTo>
                  <a:pt x="3229383" y="3304913"/>
                </a:moveTo>
                <a:cubicBezTo>
                  <a:pt x="2954193" y="3363591"/>
                  <a:pt x="2739349" y="3576701"/>
                  <a:pt x="2686074" y="3845480"/>
                </a:cubicBezTo>
                <a:cubicBezTo>
                  <a:pt x="2961264" y="3786801"/>
                  <a:pt x="3176107" y="3573691"/>
                  <a:pt x="3229383" y="3304913"/>
                </a:cubicBezTo>
                <a:close/>
                <a:moveTo>
                  <a:pt x="1835518" y="3304913"/>
                </a:moveTo>
                <a:cubicBezTo>
                  <a:pt x="1888794" y="3573691"/>
                  <a:pt x="2103637" y="3786801"/>
                  <a:pt x="2378827" y="3845480"/>
                </a:cubicBezTo>
                <a:cubicBezTo>
                  <a:pt x="2325552" y="3576701"/>
                  <a:pt x="2110708" y="3363591"/>
                  <a:pt x="1835518" y="3304913"/>
                </a:cubicBezTo>
                <a:close/>
                <a:moveTo>
                  <a:pt x="1537232" y="3304913"/>
                </a:moveTo>
                <a:cubicBezTo>
                  <a:pt x="1262042" y="3363591"/>
                  <a:pt x="1047198" y="3576701"/>
                  <a:pt x="993923" y="3845480"/>
                </a:cubicBezTo>
                <a:cubicBezTo>
                  <a:pt x="1269113" y="3786801"/>
                  <a:pt x="1483956" y="3573691"/>
                  <a:pt x="1537232" y="3304913"/>
                </a:cubicBezTo>
                <a:close/>
                <a:moveTo>
                  <a:pt x="143367" y="3304913"/>
                </a:moveTo>
                <a:cubicBezTo>
                  <a:pt x="196643" y="3573691"/>
                  <a:pt x="411486" y="3786801"/>
                  <a:pt x="686676" y="3845480"/>
                </a:cubicBezTo>
                <a:cubicBezTo>
                  <a:pt x="633401" y="3576701"/>
                  <a:pt x="418557" y="3363591"/>
                  <a:pt x="143367" y="3304913"/>
                </a:cubicBezTo>
                <a:close/>
                <a:moveTo>
                  <a:pt x="8461873" y="3161219"/>
                </a:moveTo>
                <a:lnTo>
                  <a:pt x="8478960" y="3162829"/>
                </a:lnTo>
                <a:cubicBezTo>
                  <a:pt x="8511346" y="3163352"/>
                  <a:pt x="8543239" y="3166310"/>
                  <a:pt x="8574422" y="3171823"/>
                </a:cubicBezTo>
                <a:cubicBezTo>
                  <a:pt x="8579998" y="3171407"/>
                  <a:pt x="8585326" y="3172348"/>
                  <a:pt x="8590635" y="3173350"/>
                </a:cubicBezTo>
                <a:lnTo>
                  <a:pt x="8590752" y="3174489"/>
                </a:lnTo>
                <a:cubicBezTo>
                  <a:pt x="8815033" y="3211322"/>
                  <a:pt x="9008920" y="3333951"/>
                  <a:pt x="9135069" y="3506215"/>
                </a:cubicBezTo>
                <a:lnTo>
                  <a:pt x="9139239" y="3512974"/>
                </a:lnTo>
                <a:lnTo>
                  <a:pt x="9139239" y="3816134"/>
                </a:lnTo>
                <a:lnTo>
                  <a:pt x="9120077" y="3747490"/>
                </a:lnTo>
                <a:cubicBezTo>
                  <a:pt x="9039502" y="3525837"/>
                  <a:pt x="8844913" y="3356256"/>
                  <a:pt x="8604122" y="3304913"/>
                </a:cubicBezTo>
                <a:cubicBezTo>
                  <a:pt x="8650738" y="3540094"/>
                  <a:pt x="8821055" y="3732654"/>
                  <a:pt x="9047261" y="3816429"/>
                </a:cubicBezTo>
                <a:lnTo>
                  <a:pt x="9139239" y="3843104"/>
                </a:lnTo>
                <a:lnTo>
                  <a:pt x="9139239" y="3970603"/>
                </a:lnTo>
                <a:lnTo>
                  <a:pt x="9030179" y="3943797"/>
                </a:lnTo>
                <a:cubicBezTo>
                  <a:pt x="8735297" y="3846211"/>
                  <a:pt x="8514628" y="3594637"/>
                  <a:pt x="8470637" y="3288305"/>
                </a:cubicBezTo>
                <a:cubicBezTo>
                  <a:pt x="8470469" y="3288253"/>
                  <a:pt x="8470301" y="3288248"/>
                  <a:pt x="8470131" y="3288243"/>
                </a:cubicBezTo>
                <a:lnTo>
                  <a:pt x="8469593" y="3281619"/>
                </a:lnTo>
                <a:cubicBezTo>
                  <a:pt x="8464534" y="3251607"/>
                  <a:pt x="8462083" y="3220958"/>
                  <a:pt x="8462126" y="3189869"/>
                </a:cubicBezTo>
                <a:cubicBezTo>
                  <a:pt x="8460814" y="3184286"/>
                  <a:pt x="8460755" y="3178663"/>
                  <a:pt x="8460755" y="3173027"/>
                </a:cubicBezTo>
                <a:lnTo>
                  <a:pt x="8461349" y="3161677"/>
                </a:lnTo>
                <a:lnTo>
                  <a:pt x="8461847" y="3161709"/>
                </a:lnTo>
                <a:close/>
                <a:moveTo>
                  <a:pt x="8448085" y="3161219"/>
                </a:moveTo>
                <a:lnTo>
                  <a:pt x="8448111" y="3161709"/>
                </a:lnTo>
                <a:lnTo>
                  <a:pt x="8448609" y="3161677"/>
                </a:lnTo>
                <a:lnTo>
                  <a:pt x="8449203" y="3173027"/>
                </a:lnTo>
                <a:cubicBezTo>
                  <a:pt x="8449203" y="3178663"/>
                  <a:pt x="8449144" y="3184286"/>
                  <a:pt x="8447832" y="3189869"/>
                </a:cubicBezTo>
                <a:cubicBezTo>
                  <a:pt x="8447875" y="3220958"/>
                  <a:pt x="8445424" y="3251607"/>
                  <a:pt x="8440365" y="3281619"/>
                </a:cubicBezTo>
                <a:lnTo>
                  <a:pt x="8439827" y="3288243"/>
                </a:lnTo>
                <a:cubicBezTo>
                  <a:pt x="8439657" y="3288248"/>
                  <a:pt x="8439489" y="3288253"/>
                  <a:pt x="8439321" y="3288305"/>
                </a:cubicBezTo>
                <a:cubicBezTo>
                  <a:pt x="8389046" y="3638399"/>
                  <a:pt x="8108007" y="3916971"/>
                  <a:pt x="7749156" y="3975903"/>
                </a:cubicBezTo>
                <a:lnTo>
                  <a:pt x="7749040" y="3977042"/>
                </a:lnTo>
                <a:cubicBezTo>
                  <a:pt x="7743729" y="3978045"/>
                  <a:pt x="7738400" y="3978986"/>
                  <a:pt x="7732823" y="3978570"/>
                </a:cubicBezTo>
                <a:cubicBezTo>
                  <a:pt x="7701651" y="3984080"/>
                  <a:pt x="7669771" y="3987038"/>
                  <a:pt x="7637396" y="3987561"/>
                </a:cubicBezTo>
                <a:lnTo>
                  <a:pt x="7620278" y="3989174"/>
                </a:lnTo>
                <a:lnTo>
                  <a:pt x="7620252" y="3988683"/>
                </a:lnTo>
                <a:lnTo>
                  <a:pt x="7619753" y="3988716"/>
                </a:lnTo>
                <a:cubicBezTo>
                  <a:pt x="7619187" y="3984944"/>
                  <a:pt x="7619160" y="3981158"/>
                  <a:pt x="7619160" y="3977366"/>
                </a:cubicBezTo>
                <a:cubicBezTo>
                  <a:pt x="7619160" y="3971728"/>
                  <a:pt x="7619219" y="3966104"/>
                  <a:pt x="7620531" y="3960518"/>
                </a:cubicBezTo>
                <a:cubicBezTo>
                  <a:pt x="7620488" y="3929436"/>
                  <a:pt x="7622938" y="3898794"/>
                  <a:pt x="7627995" y="3868787"/>
                </a:cubicBezTo>
                <a:lnTo>
                  <a:pt x="7628535" y="3862150"/>
                </a:lnTo>
                <a:cubicBezTo>
                  <a:pt x="7628704" y="3862145"/>
                  <a:pt x="7628873" y="3862140"/>
                  <a:pt x="7629040" y="3862087"/>
                </a:cubicBezTo>
                <a:cubicBezTo>
                  <a:pt x="7679317" y="3511992"/>
                  <a:pt x="7960356" y="3233421"/>
                  <a:pt x="8319206" y="3174489"/>
                </a:cubicBezTo>
                <a:lnTo>
                  <a:pt x="8319323" y="3173350"/>
                </a:lnTo>
                <a:cubicBezTo>
                  <a:pt x="8324632" y="3172348"/>
                  <a:pt x="8329960" y="3171407"/>
                  <a:pt x="8335536" y="3171823"/>
                </a:cubicBezTo>
                <a:cubicBezTo>
                  <a:pt x="8366719" y="3166310"/>
                  <a:pt x="8398612" y="3163352"/>
                  <a:pt x="8430998" y="3162829"/>
                </a:cubicBezTo>
                <a:close/>
                <a:moveTo>
                  <a:pt x="6769722" y="3161219"/>
                </a:moveTo>
                <a:lnTo>
                  <a:pt x="6786810" y="3162829"/>
                </a:lnTo>
                <a:cubicBezTo>
                  <a:pt x="6819195" y="3163352"/>
                  <a:pt x="6851088" y="3166310"/>
                  <a:pt x="6882271" y="3171823"/>
                </a:cubicBezTo>
                <a:cubicBezTo>
                  <a:pt x="6887847" y="3171407"/>
                  <a:pt x="6893175" y="3172348"/>
                  <a:pt x="6898484" y="3173350"/>
                </a:cubicBezTo>
                <a:lnTo>
                  <a:pt x="6898601" y="3174489"/>
                </a:lnTo>
                <a:cubicBezTo>
                  <a:pt x="7257451" y="3233421"/>
                  <a:pt x="7538490" y="3511992"/>
                  <a:pt x="7588766" y="3862087"/>
                </a:cubicBezTo>
                <a:cubicBezTo>
                  <a:pt x="7588934" y="3862140"/>
                  <a:pt x="7589103" y="3862145"/>
                  <a:pt x="7589272" y="3862150"/>
                </a:cubicBezTo>
                <a:lnTo>
                  <a:pt x="7589812" y="3868787"/>
                </a:lnTo>
                <a:cubicBezTo>
                  <a:pt x="7594869" y="3898794"/>
                  <a:pt x="7597319" y="3929436"/>
                  <a:pt x="7597276" y="3960518"/>
                </a:cubicBezTo>
                <a:cubicBezTo>
                  <a:pt x="7598588" y="3966104"/>
                  <a:pt x="7598647" y="3971728"/>
                  <a:pt x="7598647" y="3977366"/>
                </a:cubicBezTo>
                <a:cubicBezTo>
                  <a:pt x="7598647" y="3981158"/>
                  <a:pt x="7598620" y="3984944"/>
                  <a:pt x="7598054" y="3988716"/>
                </a:cubicBezTo>
                <a:lnTo>
                  <a:pt x="7597555" y="3988683"/>
                </a:lnTo>
                <a:lnTo>
                  <a:pt x="7597529" y="3989174"/>
                </a:lnTo>
                <a:lnTo>
                  <a:pt x="7580411" y="3987561"/>
                </a:lnTo>
                <a:cubicBezTo>
                  <a:pt x="7548036" y="3987038"/>
                  <a:pt x="7516156" y="3984080"/>
                  <a:pt x="7484984" y="3978570"/>
                </a:cubicBezTo>
                <a:cubicBezTo>
                  <a:pt x="7479407" y="3978986"/>
                  <a:pt x="7474078" y="3978045"/>
                  <a:pt x="7468767" y="3977042"/>
                </a:cubicBezTo>
                <a:lnTo>
                  <a:pt x="7468651" y="3975903"/>
                </a:lnTo>
                <a:cubicBezTo>
                  <a:pt x="7109800" y="3916971"/>
                  <a:pt x="6828761" y="3638399"/>
                  <a:pt x="6778486" y="3288305"/>
                </a:cubicBezTo>
                <a:cubicBezTo>
                  <a:pt x="6778318" y="3288253"/>
                  <a:pt x="6778150" y="3288248"/>
                  <a:pt x="6777980" y="3288243"/>
                </a:cubicBezTo>
                <a:lnTo>
                  <a:pt x="6777442" y="3281619"/>
                </a:lnTo>
                <a:cubicBezTo>
                  <a:pt x="6772383" y="3251607"/>
                  <a:pt x="6769933" y="3220958"/>
                  <a:pt x="6769975" y="3189869"/>
                </a:cubicBezTo>
                <a:cubicBezTo>
                  <a:pt x="6768663" y="3184286"/>
                  <a:pt x="6768604" y="3178663"/>
                  <a:pt x="6768604" y="3173027"/>
                </a:cubicBezTo>
                <a:lnTo>
                  <a:pt x="6769198" y="3161677"/>
                </a:lnTo>
                <a:lnTo>
                  <a:pt x="6769696" y="3161709"/>
                </a:lnTo>
                <a:close/>
                <a:moveTo>
                  <a:pt x="6755934" y="3161219"/>
                </a:moveTo>
                <a:lnTo>
                  <a:pt x="6755960" y="3161709"/>
                </a:lnTo>
                <a:lnTo>
                  <a:pt x="6756458" y="3161677"/>
                </a:lnTo>
                <a:lnTo>
                  <a:pt x="6757052" y="3173027"/>
                </a:lnTo>
                <a:cubicBezTo>
                  <a:pt x="6757052" y="3178663"/>
                  <a:pt x="6756994" y="3184286"/>
                  <a:pt x="6755682" y="3189869"/>
                </a:cubicBezTo>
                <a:cubicBezTo>
                  <a:pt x="6755724" y="3220958"/>
                  <a:pt x="6753273" y="3251607"/>
                  <a:pt x="6748215" y="3281619"/>
                </a:cubicBezTo>
                <a:lnTo>
                  <a:pt x="6747676" y="3288243"/>
                </a:lnTo>
                <a:cubicBezTo>
                  <a:pt x="6747507" y="3288248"/>
                  <a:pt x="6747338" y="3288253"/>
                  <a:pt x="6747171" y="3288305"/>
                </a:cubicBezTo>
                <a:cubicBezTo>
                  <a:pt x="6696895" y="3638399"/>
                  <a:pt x="6415856" y="3916971"/>
                  <a:pt x="6057005" y="3975903"/>
                </a:cubicBezTo>
                <a:lnTo>
                  <a:pt x="6056889" y="3977042"/>
                </a:lnTo>
                <a:cubicBezTo>
                  <a:pt x="6051578" y="3978045"/>
                  <a:pt x="6046249" y="3978986"/>
                  <a:pt x="6040672" y="3978570"/>
                </a:cubicBezTo>
                <a:cubicBezTo>
                  <a:pt x="6009500" y="3984080"/>
                  <a:pt x="5977620" y="3987038"/>
                  <a:pt x="5945246" y="3987561"/>
                </a:cubicBezTo>
                <a:lnTo>
                  <a:pt x="5928127" y="3989174"/>
                </a:lnTo>
                <a:lnTo>
                  <a:pt x="5928101" y="3988683"/>
                </a:lnTo>
                <a:lnTo>
                  <a:pt x="5927602" y="3988716"/>
                </a:lnTo>
                <a:cubicBezTo>
                  <a:pt x="5927036" y="3984944"/>
                  <a:pt x="5927009" y="3981158"/>
                  <a:pt x="5927009" y="3977366"/>
                </a:cubicBezTo>
                <a:cubicBezTo>
                  <a:pt x="5927009" y="3971728"/>
                  <a:pt x="5927068" y="3966104"/>
                  <a:pt x="5928380" y="3960518"/>
                </a:cubicBezTo>
                <a:cubicBezTo>
                  <a:pt x="5928338" y="3929436"/>
                  <a:pt x="5930787" y="3898794"/>
                  <a:pt x="5935844" y="3868787"/>
                </a:cubicBezTo>
                <a:lnTo>
                  <a:pt x="5936384" y="3862150"/>
                </a:lnTo>
                <a:cubicBezTo>
                  <a:pt x="5936553" y="3862145"/>
                  <a:pt x="5936722" y="3862140"/>
                  <a:pt x="5936890" y="3862087"/>
                </a:cubicBezTo>
                <a:cubicBezTo>
                  <a:pt x="5987166" y="3511992"/>
                  <a:pt x="6268205" y="3233421"/>
                  <a:pt x="6627056" y="3174489"/>
                </a:cubicBezTo>
                <a:lnTo>
                  <a:pt x="6627173" y="3173350"/>
                </a:lnTo>
                <a:cubicBezTo>
                  <a:pt x="6632481" y="3172348"/>
                  <a:pt x="6637809" y="3171407"/>
                  <a:pt x="6643385" y="3171823"/>
                </a:cubicBezTo>
                <a:cubicBezTo>
                  <a:pt x="6674569" y="3166310"/>
                  <a:pt x="6706461" y="3163352"/>
                  <a:pt x="6738847" y="3162829"/>
                </a:cubicBezTo>
                <a:close/>
                <a:moveTo>
                  <a:pt x="5077571" y="3161219"/>
                </a:moveTo>
                <a:lnTo>
                  <a:pt x="5094659" y="3162829"/>
                </a:lnTo>
                <a:cubicBezTo>
                  <a:pt x="5127044" y="3163352"/>
                  <a:pt x="5158937" y="3166310"/>
                  <a:pt x="5190120" y="3171823"/>
                </a:cubicBezTo>
                <a:cubicBezTo>
                  <a:pt x="5195696" y="3171407"/>
                  <a:pt x="5201024" y="3172348"/>
                  <a:pt x="5206334" y="3173350"/>
                </a:cubicBezTo>
                <a:lnTo>
                  <a:pt x="5206450" y="3174489"/>
                </a:lnTo>
                <a:cubicBezTo>
                  <a:pt x="5565300" y="3233421"/>
                  <a:pt x="5846339" y="3511992"/>
                  <a:pt x="5896616" y="3862087"/>
                </a:cubicBezTo>
                <a:cubicBezTo>
                  <a:pt x="5896783" y="3862140"/>
                  <a:pt x="5896953" y="3862145"/>
                  <a:pt x="5897121" y="3862150"/>
                </a:cubicBezTo>
                <a:lnTo>
                  <a:pt x="5897662" y="3868787"/>
                </a:lnTo>
                <a:cubicBezTo>
                  <a:pt x="5902718" y="3898794"/>
                  <a:pt x="5905168" y="3929436"/>
                  <a:pt x="5905126" y="3960518"/>
                </a:cubicBezTo>
                <a:cubicBezTo>
                  <a:pt x="5906438" y="3966104"/>
                  <a:pt x="5906496" y="3971728"/>
                  <a:pt x="5906496" y="3977366"/>
                </a:cubicBezTo>
                <a:cubicBezTo>
                  <a:pt x="5906496" y="3981158"/>
                  <a:pt x="5906469" y="3984944"/>
                  <a:pt x="5905903" y="3988716"/>
                </a:cubicBezTo>
                <a:lnTo>
                  <a:pt x="5905404" y="3988683"/>
                </a:lnTo>
                <a:lnTo>
                  <a:pt x="5905378" y="3989174"/>
                </a:lnTo>
                <a:lnTo>
                  <a:pt x="5888260" y="3987561"/>
                </a:lnTo>
                <a:cubicBezTo>
                  <a:pt x="5855886" y="3987038"/>
                  <a:pt x="5824005" y="3984080"/>
                  <a:pt x="5792833" y="3978570"/>
                </a:cubicBezTo>
                <a:cubicBezTo>
                  <a:pt x="5787256" y="3978986"/>
                  <a:pt x="5781927" y="3978045"/>
                  <a:pt x="5776617" y="3977042"/>
                </a:cubicBezTo>
                <a:lnTo>
                  <a:pt x="5776501" y="3975903"/>
                </a:lnTo>
                <a:cubicBezTo>
                  <a:pt x="5417649" y="3916971"/>
                  <a:pt x="5136610" y="3638399"/>
                  <a:pt x="5086335" y="3288305"/>
                </a:cubicBezTo>
                <a:cubicBezTo>
                  <a:pt x="5086167" y="3288253"/>
                  <a:pt x="5085999" y="3288248"/>
                  <a:pt x="5085830" y="3288243"/>
                </a:cubicBezTo>
                <a:lnTo>
                  <a:pt x="5085291" y="3281619"/>
                </a:lnTo>
                <a:cubicBezTo>
                  <a:pt x="5080233" y="3251607"/>
                  <a:pt x="5077782" y="3220958"/>
                  <a:pt x="5077824" y="3189869"/>
                </a:cubicBezTo>
                <a:cubicBezTo>
                  <a:pt x="5076512" y="3184286"/>
                  <a:pt x="5076453" y="3178663"/>
                  <a:pt x="5076453" y="3173027"/>
                </a:cubicBezTo>
                <a:lnTo>
                  <a:pt x="5077047" y="3161677"/>
                </a:lnTo>
                <a:lnTo>
                  <a:pt x="5077545" y="3161709"/>
                </a:lnTo>
                <a:close/>
                <a:moveTo>
                  <a:pt x="5063783" y="3161219"/>
                </a:moveTo>
                <a:lnTo>
                  <a:pt x="5063809" y="3161709"/>
                </a:lnTo>
                <a:lnTo>
                  <a:pt x="5064307" y="3161677"/>
                </a:lnTo>
                <a:lnTo>
                  <a:pt x="5064902" y="3173027"/>
                </a:lnTo>
                <a:cubicBezTo>
                  <a:pt x="5064902" y="3178663"/>
                  <a:pt x="5064842" y="3184286"/>
                  <a:pt x="5063530" y="3189869"/>
                </a:cubicBezTo>
                <a:cubicBezTo>
                  <a:pt x="5063572" y="3220958"/>
                  <a:pt x="5061122" y="3251607"/>
                  <a:pt x="5056063" y="3281619"/>
                </a:cubicBezTo>
                <a:lnTo>
                  <a:pt x="5055525" y="3288243"/>
                </a:lnTo>
                <a:cubicBezTo>
                  <a:pt x="5055355" y="3288248"/>
                  <a:pt x="5055187" y="3288253"/>
                  <a:pt x="5055019" y="3288305"/>
                </a:cubicBezTo>
                <a:cubicBezTo>
                  <a:pt x="5004744" y="3638399"/>
                  <a:pt x="4723705" y="3916971"/>
                  <a:pt x="4364853" y="3975903"/>
                </a:cubicBezTo>
                <a:lnTo>
                  <a:pt x="4364737" y="3977042"/>
                </a:lnTo>
                <a:cubicBezTo>
                  <a:pt x="4359427" y="3978045"/>
                  <a:pt x="4354098" y="3978986"/>
                  <a:pt x="4348521" y="3978570"/>
                </a:cubicBezTo>
                <a:cubicBezTo>
                  <a:pt x="4317350" y="3984080"/>
                  <a:pt x="4285468" y="3987038"/>
                  <a:pt x="4253094" y="3987561"/>
                </a:cubicBezTo>
                <a:lnTo>
                  <a:pt x="4235976" y="3989174"/>
                </a:lnTo>
                <a:lnTo>
                  <a:pt x="4235950" y="3988683"/>
                </a:lnTo>
                <a:lnTo>
                  <a:pt x="4235451" y="3988716"/>
                </a:lnTo>
                <a:cubicBezTo>
                  <a:pt x="4234885" y="3984944"/>
                  <a:pt x="4234858" y="3981158"/>
                  <a:pt x="4234858" y="3977366"/>
                </a:cubicBezTo>
                <a:cubicBezTo>
                  <a:pt x="4234858" y="3971728"/>
                  <a:pt x="4234916" y="3966104"/>
                  <a:pt x="4236228" y="3960518"/>
                </a:cubicBezTo>
                <a:cubicBezTo>
                  <a:pt x="4236186" y="3929436"/>
                  <a:pt x="4238636" y="3898794"/>
                  <a:pt x="4243692" y="3868787"/>
                </a:cubicBezTo>
                <a:lnTo>
                  <a:pt x="4244233" y="3862150"/>
                </a:lnTo>
                <a:cubicBezTo>
                  <a:pt x="4244401" y="3862145"/>
                  <a:pt x="4244571" y="3862140"/>
                  <a:pt x="4244738" y="3862087"/>
                </a:cubicBezTo>
                <a:cubicBezTo>
                  <a:pt x="4295015" y="3511992"/>
                  <a:pt x="4576054" y="3233421"/>
                  <a:pt x="4934904" y="3174489"/>
                </a:cubicBezTo>
                <a:lnTo>
                  <a:pt x="4935021" y="3173350"/>
                </a:lnTo>
                <a:cubicBezTo>
                  <a:pt x="4940330" y="3172348"/>
                  <a:pt x="4945658" y="3171407"/>
                  <a:pt x="4951234" y="3171823"/>
                </a:cubicBezTo>
                <a:cubicBezTo>
                  <a:pt x="4982417" y="3166310"/>
                  <a:pt x="5014310" y="3163352"/>
                  <a:pt x="5046695" y="3162829"/>
                </a:cubicBezTo>
                <a:close/>
                <a:moveTo>
                  <a:pt x="3385420" y="3161219"/>
                </a:moveTo>
                <a:lnTo>
                  <a:pt x="3402507" y="3162829"/>
                </a:lnTo>
                <a:cubicBezTo>
                  <a:pt x="3434893" y="3163352"/>
                  <a:pt x="3466785" y="3166310"/>
                  <a:pt x="3497969" y="3171823"/>
                </a:cubicBezTo>
                <a:cubicBezTo>
                  <a:pt x="3503545" y="3171407"/>
                  <a:pt x="3508873" y="3172348"/>
                  <a:pt x="3514181" y="3173350"/>
                </a:cubicBezTo>
                <a:lnTo>
                  <a:pt x="3514298" y="3174489"/>
                </a:lnTo>
                <a:cubicBezTo>
                  <a:pt x="3873149" y="3233421"/>
                  <a:pt x="4154188" y="3511992"/>
                  <a:pt x="4204464" y="3862087"/>
                </a:cubicBezTo>
                <a:cubicBezTo>
                  <a:pt x="4204632" y="3862140"/>
                  <a:pt x="4204801" y="3862145"/>
                  <a:pt x="4204970" y="3862150"/>
                </a:cubicBezTo>
                <a:lnTo>
                  <a:pt x="4205510" y="3868787"/>
                </a:lnTo>
                <a:cubicBezTo>
                  <a:pt x="4210567" y="3898794"/>
                  <a:pt x="4213016" y="3929436"/>
                  <a:pt x="4212974" y="3960518"/>
                </a:cubicBezTo>
                <a:cubicBezTo>
                  <a:pt x="4214286" y="3966104"/>
                  <a:pt x="4214345" y="3971728"/>
                  <a:pt x="4214345" y="3977366"/>
                </a:cubicBezTo>
                <a:cubicBezTo>
                  <a:pt x="4214345" y="3981158"/>
                  <a:pt x="4214318" y="3984944"/>
                  <a:pt x="4213752" y="3988716"/>
                </a:cubicBezTo>
                <a:lnTo>
                  <a:pt x="4213253" y="3988683"/>
                </a:lnTo>
                <a:lnTo>
                  <a:pt x="4213227" y="3989174"/>
                </a:lnTo>
                <a:lnTo>
                  <a:pt x="4196108" y="3987561"/>
                </a:lnTo>
                <a:cubicBezTo>
                  <a:pt x="4163734" y="3987038"/>
                  <a:pt x="4131854" y="3984080"/>
                  <a:pt x="4100682" y="3978570"/>
                </a:cubicBezTo>
                <a:cubicBezTo>
                  <a:pt x="4095105" y="3978986"/>
                  <a:pt x="4089776" y="3978045"/>
                  <a:pt x="4084465" y="3977042"/>
                </a:cubicBezTo>
                <a:lnTo>
                  <a:pt x="4084349" y="3975903"/>
                </a:lnTo>
                <a:cubicBezTo>
                  <a:pt x="3725498" y="3916971"/>
                  <a:pt x="3444459" y="3638399"/>
                  <a:pt x="3394183" y="3288305"/>
                </a:cubicBezTo>
                <a:cubicBezTo>
                  <a:pt x="3394016" y="3288253"/>
                  <a:pt x="3393847" y="3288248"/>
                  <a:pt x="3393678" y="3288243"/>
                </a:cubicBezTo>
                <a:lnTo>
                  <a:pt x="3393139" y="3281619"/>
                </a:lnTo>
                <a:cubicBezTo>
                  <a:pt x="3388081" y="3251607"/>
                  <a:pt x="3385630" y="3220958"/>
                  <a:pt x="3385672" y="3189869"/>
                </a:cubicBezTo>
                <a:cubicBezTo>
                  <a:pt x="3384360" y="3184286"/>
                  <a:pt x="3384302" y="3178663"/>
                  <a:pt x="3384302" y="3173027"/>
                </a:cubicBezTo>
                <a:lnTo>
                  <a:pt x="3384896" y="3161677"/>
                </a:lnTo>
                <a:lnTo>
                  <a:pt x="3385394" y="3161709"/>
                </a:lnTo>
                <a:close/>
                <a:moveTo>
                  <a:pt x="3371632" y="3161219"/>
                </a:moveTo>
                <a:lnTo>
                  <a:pt x="3371658" y="3161709"/>
                </a:lnTo>
                <a:lnTo>
                  <a:pt x="3372156" y="3161677"/>
                </a:lnTo>
                <a:lnTo>
                  <a:pt x="3372750" y="3173027"/>
                </a:lnTo>
                <a:cubicBezTo>
                  <a:pt x="3372750" y="3178663"/>
                  <a:pt x="3372691" y="3184286"/>
                  <a:pt x="3371379" y="3189869"/>
                </a:cubicBezTo>
                <a:cubicBezTo>
                  <a:pt x="3371421" y="3220958"/>
                  <a:pt x="3368971" y="3251607"/>
                  <a:pt x="3363912" y="3281619"/>
                </a:cubicBezTo>
                <a:lnTo>
                  <a:pt x="3363374" y="3288243"/>
                </a:lnTo>
                <a:cubicBezTo>
                  <a:pt x="3363204" y="3288248"/>
                  <a:pt x="3363036" y="3288253"/>
                  <a:pt x="3362868" y="3288305"/>
                </a:cubicBezTo>
                <a:cubicBezTo>
                  <a:pt x="3312593" y="3638399"/>
                  <a:pt x="3031554" y="3916971"/>
                  <a:pt x="2672703" y="3975903"/>
                </a:cubicBezTo>
                <a:lnTo>
                  <a:pt x="2672586" y="3977042"/>
                </a:lnTo>
                <a:cubicBezTo>
                  <a:pt x="2667276" y="3978045"/>
                  <a:pt x="2661947" y="3978986"/>
                  <a:pt x="2656370" y="3978570"/>
                </a:cubicBezTo>
                <a:cubicBezTo>
                  <a:pt x="2625198" y="3984080"/>
                  <a:pt x="2593318" y="3987038"/>
                  <a:pt x="2560943" y="3987561"/>
                </a:cubicBezTo>
                <a:lnTo>
                  <a:pt x="2543825" y="3989174"/>
                </a:lnTo>
                <a:lnTo>
                  <a:pt x="2543799" y="3988683"/>
                </a:lnTo>
                <a:lnTo>
                  <a:pt x="2543300" y="3988716"/>
                </a:lnTo>
                <a:cubicBezTo>
                  <a:pt x="2542734" y="3984944"/>
                  <a:pt x="2542707" y="3981158"/>
                  <a:pt x="2542707" y="3977366"/>
                </a:cubicBezTo>
                <a:cubicBezTo>
                  <a:pt x="2542707" y="3971728"/>
                  <a:pt x="2542765" y="3966104"/>
                  <a:pt x="2544077" y="3960518"/>
                </a:cubicBezTo>
                <a:cubicBezTo>
                  <a:pt x="2544035" y="3929436"/>
                  <a:pt x="2546485" y="3898794"/>
                  <a:pt x="2551541" y="3868787"/>
                </a:cubicBezTo>
                <a:lnTo>
                  <a:pt x="2552082" y="3862150"/>
                </a:lnTo>
                <a:cubicBezTo>
                  <a:pt x="2552250" y="3862145"/>
                  <a:pt x="2552420" y="3862140"/>
                  <a:pt x="2552587" y="3862087"/>
                </a:cubicBezTo>
                <a:cubicBezTo>
                  <a:pt x="2602864" y="3511992"/>
                  <a:pt x="2883903" y="3233421"/>
                  <a:pt x="3242753" y="3174489"/>
                </a:cubicBezTo>
                <a:lnTo>
                  <a:pt x="3242870" y="3173350"/>
                </a:lnTo>
                <a:cubicBezTo>
                  <a:pt x="3248179" y="3172348"/>
                  <a:pt x="3253507" y="3171407"/>
                  <a:pt x="3259083" y="3171823"/>
                </a:cubicBezTo>
                <a:cubicBezTo>
                  <a:pt x="3290266" y="3166310"/>
                  <a:pt x="3322159" y="3163352"/>
                  <a:pt x="3354544" y="3162829"/>
                </a:cubicBezTo>
                <a:close/>
                <a:moveTo>
                  <a:pt x="1693269" y="3161219"/>
                </a:moveTo>
                <a:lnTo>
                  <a:pt x="1710356" y="3162829"/>
                </a:lnTo>
                <a:cubicBezTo>
                  <a:pt x="1742742" y="3163352"/>
                  <a:pt x="1774634" y="3166310"/>
                  <a:pt x="1805818" y="3171823"/>
                </a:cubicBezTo>
                <a:cubicBezTo>
                  <a:pt x="1811394" y="3171407"/>
                  <a:pt x="1816722" y="3172348"/>
                  <a:pt x="1822030" y="3173350"/>
                </a:cubicBezTo>
                <a:lnTo>
                  <a:pt x="1822148" y="3174489"/>
                </a:lnTo>
                <a:cubicBezTo>
                  <a:pt x="2180998" y="3233421"/>
                  <a:pt x="2462037" y="3511992"/>
                  <a:pt x="2512313" y="3862087"/>
                </a:cubicBezTo>
                <a:cubicBezTo>
                  <a:pt x="2512481" y="3862140"/>
                  <a:pt x="2512650" y="3862145"/>
                  <a:pt x="2512819" y="3862150"/>
                </a:cubicBezTo>
                <a:lnTo>
                  <a:pt x="2513359" y="3868787"/>
                </a:lnTo>
                <a:cubicBezTo>
                  <a:pt x="2518416" y="3898794"/>
                  <a:pt x="2520865" y="3929436"/>
                  <a:pt x="2520823" y="3960518"/>
                </a:cubicBezTo>
                <a:cubicBezTo>
                  <a:pt x="2522135" y="3966104"/>
                  <a:pt x="2522194" y="3971728"/>
                  <a:pt x="2522194" y="3977366"/>
                </a:cubicBezTo>
                <a:cubicBezTo>
                  <a:pt x="2522194" y="3981158"/>
                  <a:pt x="2522167" y="3984944"/>
                  <a:pt x="2521601" y="3988716"/>
                </a:cubicBezTo>
                <a:lnTo>
                  <a:pt x="2521102" y="3988683"/>
                </a:lnTo>
                <a:lnTo>
                  <a:pt x="2521076" y="3989174"/>
                </a:lnTo>
                <a:lnTo>
                  <a:pt x="2503957" y="3987561"/>
                </a:lnTo>
                <a:cubicBezTo>
                  <a:pt x="2471583" y="3987038"/>
                  <a:pt x="2439703" y="3984080"/>
                  <a:pt x="2408531" y="3978570"/>
                </a:cubicBezTo>
                <a:cubicBezTo>
                  <a:pt x="2402954" y="3978986"/>
                  <a:pt x="2397625" y="3978045"/>
                  <a:pt x="2392314" y="3977042"/>
                </a:cubicBezTo>
                <a:lnTo>
                  <a:pt x="2392198" y="3975903"/>
                </a:lnTo>
                <a:cubicBezTo>
                  <a:pt x="2033347" y="3916971"/>
                  <a:pt x="1752308" y="3638399"/>
                  <a:pt x="1702032" y="3288305"/>
                </a:cubicBezTo>
                <a:cubicBezTo>
                  <a:pt x="1701865" y="3288253"/>
                  <a:pt x="1701696" y="3288248"/>
                  <a:pt x="1701527" y="3288243"/>
                </a:cubicBezTo>
                <a:lnTo>
                  <a:pt x="1700989" y="3281619"/>
                </a:lnTo>
                <a:cubicBezTo>
                  <a:pt x="1695930" y="3251607"/>
                  <a:pt x="1693479" y="3220958"/>
                  <a:pt x="1693521" y="3189869"/>
                </a:cubicBezTo>
                <a:cubicBezTo>
                  <a:pt x="1692209" y="3184286"/>
                  <a:pt x="1692151" y="3178663"/>
                  <a:pt x="1692151" y="3173027"/>
                </a:cubicBezTo>
                <a:lnTo>
                  <a:pt x="1692745" y="3161677"/>
                </a:lnTo>
                <a:lnTo>
                  <a:pt x="1693243" y="3161709"/>
                </a:lnTo>
                <a:close/>
                <a:moveTo>
                  <a:pt x="1679481" y="3161219"/>
                </a:moveTo>
                <a:lnTo>
                  <a:pt x="1679507" y="3161709"/>
                </a:lnTo>
                <a:lnTo>
                  <a:pt x="1680005" y="3161677"/>
                </a:lnTo>
                <a:lnTo>
                  <a:pt x="1680599" y="3173027"/>
                </a:lnTo>
                <a:cubicBezTo>
                  <a:pt x="1680599" y="3178663"/>
                  <a:pt x="1680540" y="3184286"/>
                  <a:pt x="1679228" y="3189869"/>
                </a:cubicBezTo>
                <a:cubicBezTo>
                  <a:pt x="1679270" y="3220958"/>
                  <a:pt x="1676820" y="3251607"/>
                  <a:pt x="1671761" y="3281619"/>
                </a:cubicBezTo>
                <a:lnTo>
                  <a:pt x="1671223" y="3288243"/>
                </a:lnTo>
                <a:cubicBezTo>
                  <a:pt x="1671053" y="3288248"/>
                  <a:pt x="1670885" y="3288253"/>
                  <a:pt x="1670717" y="3288305"/>
                </a:cubicBezTo>
                <a:cubicBezTo>
                  <a:pt x="1620442" y="3638399"/>
                  <a:pt x="1339403" y="3916971"/>
                  <a:pt x="980552" y="3975903"/>
                </a:cubicBezTo>
                <a:lnTo>
                  <a:pt x="980435" y="3977042"/>
                </a:lnTo>
                <a:cubicBezTo>
                  <a:pt x="975125" y="3978045"/>
                  <a:pt x="969796" y="3978986"/>
                  <a:pt x="964219" y="3978570"/>
                </a:cubicBezTo>
                <a:cubicBezTo>
                  <a:pt x="933047" y="3984080"/>
                  <a:pt x="901167" y="3987038"/>
                  <a:pt x="868792" y="3987561"/>
                </a:cubicBezTo>
                <a:lnTo>
                  <a:pt x="851674" y="3989174"/>
                </a:lnTo>
                <a:lnTo>
                  <a:pt x="851648" y="3988683"/>
                </a:lnTo>
                <a:lnTo>
                  <a:pt x="851149" y="3988716"/>
                </a:lnTo>
                <a:cubicBezTo>
                  <a:pt x="850583" y="3984944"/>
                  <a:pt x="850556" y="3981158"/>
                  <a:pt x="850556" y="3977366"/>
                </a:cubicBezTo>
                <a:cubicBezTo>
                  <a:pt x="850556" y="3971728"/>
                  <a:pt x="850614" y="3966104"/>
                  <a:pt x="851926" y="3960518"/>
                </a:cubicBezTo>
                <a:cubicBezTo>
                  <a:pt x="851884" y="3929436"/>
                  <a:pt x="854334" y="3898794"/>
                  <a:pt x="859390" y="3868787"/>
                </a:cubicBezTo>
                <a:lnTo>
                  <a:pt x="859931" y="3862150"/>
                </a:lnTo>
                <a:cubicBezTo>
                  <a:pt x="860099" y="3862145"/>
                  <a:pt x="860269" y="3862140"/>
                  <a:pt x="860436" y="3862087"/>
                </a:cubicBezTo>
                <a:cubicBezTo>
                  <a:pt x="910713" y="3511992"/>
                  <a:pt x="1191752" y="3233421"/>
                  <a:pt x="1550602" y="3174489"/>
                </a:cubicBezTo>
                <a:lnTo>
                  <a:pt x="1550719" y="3173350"/>
                </a:lnTo>
                <a:cubicBezTo>
                  <a:pt x="1556028" y="3172348"/>
                  <a:pt x="1561356" y="3171407"/>
                  <a:pt x="1566932" y="3171823"/>
                </a:cubicBezTo>
                <a:cubicBezTo>
                  <a:pt x="1598115" y="3166310"/>
                  <a:pt x="1630008" y="3163352"/>
                  <a:pt x="1662393" y="3162829"/>
                </a:cubicBezTo>
                <a:close/>
                <a:moveTo>
                  <a:pt x="1118" y="3161219"/>
                </a:moveTo>
                <a:lnTo>
                  <a:pt x="18205" y="3162829"/>
                </a:lnTo>
                <a:cubicBezTo>
                  <a:pt x="50591" y="3163352"/>
                  <a:pt x="82483" y="3166310"/>
                  <a:pt x="113667" y="3171823"/>
                </a:cubicBezTo>
                <a:cubicBezTo>
                  <a:pt x="119243" y="3171407"/>
                  <a:pt x="124571" y="3172348"/>
                  <a:pt x="129879" y="3173350"/>
                </a:cubicBezTo>
                <a:lnTo>
                  <a:pt x="129997" y="3174489"/>
                </a:lnTo>
                <a:cubicBezTo>
                  <a:pt x="488847" y="3233421"/>
                  <a:pt x="769886" y="3511992"/>
                  <a:pt x="820162" y="3862087"/>
                </a:cubicBezTo>
                <a:cubicBezTo>
                  <a:pt x="820330" y="3862140"/>
                  <a:pt x="820499" y="3862145"/>
                  <a:pt x="820668" y="3862150"/>
                </a:cubicBezTo>
                <a:lnTo>
                  <a:pt x="821208" y="3868787"/>
                </a:lnTo>
                <a:cubicBezTo>
                  <a:pt x="826265" y="3898794"/>
                  <a:pt x="828714" y="3929436"/>
                  <a:pt x="828672" y="3960518"/>
                </a:cubicBezTo>
                <a:cubicBezTo>
                  <a:pt x="829984" y="3966104"/>
                  <a:pt x="830043" y="3971728"/>
                  <a:pt x="830043" y="3977366"/>
                </a:cubicBezTo>
                <a:cubicBezTo>
                  <a:pt x="830043" y="3981158"/>
                  <a:pt x="830016" y="3984944"/>
                  <a:pt x="829450" y="3988716"/>
                </a:cubicBezTo>
                <a:lnTo>
                  <a:pt x="828951" y="3988683"/>
                </a:lnTo>
                <a:lnTo>
                  <a:pt x="828925" y="3989174"/>
                </a:lnTo>
                <a:lnTo>
                  <a:pt x="811806" y="3987561"/>
                </a:lnTo>
                <a:cubicBezTo>
                  <a:pt x="779432" y="3987038"/>
                  <a:pt x="747552" y="3984080"/>
                  <a:pt x="716380" y="3978570"/>
                </a:cubicBezTo>
                <a:cubicBezTo>
                  <a:pt x="710803" y="3978986"/>
                  <a:pt x="705474" y="3978045"/>
                  <a:pt x="700163" y="3977042"/>
                </a:cubicBezTo>
                <a:lnTo>
                  <a:pt x="700047" y="3975903"/>
                </a:lnTo>
                <a:cubicBezTo>
                  <a:pt x="341196" y="3916971"/>
                  <a:pt x="60157" y="3638399"/>
                  <a:pt x="9881" y="3288305"/>
                </a:cubicBezTo>
                <a:cubicBezTo>
                  <a:pt x="9714" y="3288253"/>
                  <a:pt x="9545" y="3288248"/>
                  <a:pt x="9376" y="3288243"/>
                </a:cubicBezTo>
                <a:lnTo>
                  <a:pt x="8837" y="3281619"/>
                </a:lnTo>
                <a:cubicBezTo>
                  <a:pt x="3779" y="3251607"/>
                  <a:pt x="1328" y="3220958"/>
                  <a:pt x="1370" y="3189869"/>
                </a:cubicBezTo>
                <a:cubicBezTo>
                  <a:pt x="58" y="3184286"/>
                  <a:pt x="0" y="3178663"/>
                  <a:pt x="0" y="3173027"/>
                </a:cubicBezTo>
                <a:lnTo>
                  <a:pt x="594" y="3161677"/>
                </a:lnTo>
                <a:lnTo>
                  <a:pt x="1092" y="3161709"/>
                </a:lnTo>
                <a:close/>
                <a:moveTo>
                  <a:pt x="7762529" y="2447425"/>
                </a:moveTo>
                <a:cubicBezTo>
                  <a:pt x="7815805" y="2718331"/>
                  <a:pt x="8030648" y="2933128"/>
                  <a:pt x="8305838" y="2992271"/>
                </a:cubicBezTo>
                <a:cubicBezTo>
                  <a:pt x="8252563" y="2721365"/>
                  <a:pt x="8037719" y="2506568"/>
                  <a:pt x="7762529" y="2447425"/>
                </a:cubicBezTo>
                <a:close/>
                <a:moveTo>
                  <a:pt x="7455280" y="2447425"/>
                </a:moveTo>
                <a:cubicBezTo>
                  <a:pt x="7180090" y="2506568"/>
                  <a:pt x="6965246" y="2721365"/>
                  <a:pt x="6911971" y="2992271"/>
                </a:cubicBezTo>
                <a:cubicBezTo>
                  <a:pt x="7187161" y="2933128"/>
                  <a:pt x="7402004" y="2718331"/>
                  <a:pt x="7455280" y="2447425"/>
                </a:cubicBezTo>
                <a:close/>
                <a:moveTo>
                  <a:pt x="6070378" y="2447425"/>
                </a:moveTo>
                <a:cubicBezTo>
                  <a:pt x="6123654" y="2718331"/>
                  <a:pt x="6338497" y="2933128"/>
                  <a:pt x="6613687" y="2992271"/>
                </a:cubicBezTo>
                <a:cubicBezTo>
                  <a:pt x="6560412" y="2721365"/>
                  <a:pt x="6345568" y="2506568"/>
                  <a:pt x="6070378" y="2447425"/>
                </a:cubicBezTo>
                <a:close/>
                <a:moveTo>
                  <a:pt x="5763129" y="2447425"/>
                </a:moveTo>
                <a:cubicBezTo>
                  <a:pt x="5487939" y="2506568"/>
                  <a:pt x="5273095" y="2721365"/>
                  <a:pt x="5219820" y="2992271"/>
                </a:cubicBezTo>
                <a:cubicBezTo>
                  <a:pt x="5495010" y="2933128"/>
                  <a:pt x="5709853" y="2718331"/>
                  <a:pt x="5763129" y="2447425"/>
                </a:cubicBezTo>
                <a:close/>
                <a:moveTo>
                  <a:pt x="4378227" y="2447425"/>
                </a:moveTo>
                <a:cubicBezTo>
                  <a:pt x="4431503" y="2718331"/>
                  <a:pt x="4646346" y="2933128"/>
                  <a:pt x="4921536" y="2992271"/>
                </a:cubicBezTo>
                <a:cubicBezTo>
                  <a:pt x="4868261" y="2721365"/>
                  <a:pt x="4653417" y="2506568"/>
                  <a:pt x="4378227" y="2447425"/>
                </a:cubicBezTo>
                <a:close/>
                <a:moveTo>
                  <a:pt x="4070978" y="2447425"/>
                </a:moveTo>
                <a:cubicBezTo>
                  <a:pt x="3795788" y="2506568"/>
                  <a:pt x="3580944" y="2721365"/>
                  <a:pt x="3527669" y="2992271"/>
                </a:cubicBezTo>
                <a:cubicBezTo>
                  <a:pt x="3802859" y="2933128"/>
                  <a:pt x="4017702" y="2718331"/>
                  <a:pt x="4070978" y="2447425"/>
                </a:cubicBezTo>
                <a:close/>
                <a:moveTo>
                  <a:pt x="2686076" y="2447425"/>
                </a:moveTo>
                <a:cubicBezTo>
                  <a:pt x="2739352" y="2718331"/>
                  <a:pt x="2954195" y="2933128"/>
                  <a:pt x="3229385" y="2992271"/>
                </a:cubicBezTo>
                <a:cubicBezTo>
                  <a:pt x="3176110" y="2721365"/>
                  <a:pt x="2961266" y="2506568"/>
                  <a:pt x="2686076" y="2447425"/>
                </a:cubicBezTo>
                <a:close/>
                <a:moveTo>
                  <a:pt x="2378827" y="2447425"/>
                </a:moveTo>
                <a:cubicBezTo>
                  <a:pt x="2103637" y="2506568"/>
                  <a:pt x="1888793" y="2721365"/>
                  <a:pt x="1835518" y="2992271"/>
                </a:cubicBezTo>
                <a:cubicBezTo>
                  <a:pt x="2110708" y="2933128"/>
                  <a:pt x="2325551" y="2718331"/>
                  <a:pt x="2378827" y="2447425"/>
                </a:cubicBezTo>
                <a:close/>
                <a:moveTo>
                  <a:pt x="993925" y="2447425"/>
                </a:moveTo>
                <a:cubicBezTo>
                  <a:pt x="1047201" y="2718331"/>
                  <a:pt x="1262044" y="2933128"/>
                  <a:pt x="1537234" y="2992271"/>
                </a:cubicBezTo>
                <a:cubicBezTo>
                  <a:pt x="1483959" y="2721365"/>
                  <a:pt x="1269115" y="2506568"/>
                  <a:pt x="993925" y="2447425"/>
                </a:cubicBezTo>
                <a:close/>
                <a:moveTo>
                  <a:pt x="686676" y="2447425"/>
                </a:moveTo>
                <a:cubicBezTo>
                  <a:pt x="411486" y="2506568"/>
                  <a:pt x="196642" y="2721365"/>
                  <a:pt x="143367" y="2992271"/>
                </a:cubicBezTo>
                <a:cubicBezTo>
                  <a:pt x="418557" y="2933128"/>
                  <a:pt x="633400" y="2718331"/>
                  <a:pt x="686676" y="2447425"/>
                </a:cubicBezTo>
                <a:close/>
                <a:moveTo>
                  <a:pt x="9139239" y="2321311"/>
                </a:moveTo>
                <a:lnTo>
                  <a:pt x="9139239" y="2449820"/>
                </a:lnTo>
                <a:lnTo>
                  <a:pt x="9047261" y="2476706"/>
                </a:lnTo>
                <a:cubicBezTo>
                  <a:pt x="8821055" y="2561144"/>
                  <a:pt x="8650738" y="2755228"/>
                  <a:pt x="8604122" y="2992271"/>
                </a:cubicBezTo>
                <a:cubicBezTo>
                  <a:pt x="8844913" y="2940521"/>
                  <a:pt x="9039501" y="2769598"/>
                  <a:pt x="9120077" y="2546190"/>
                </a:cubicBezTo>
                <a:lnTo>
                  <a:pt x="9139239" y="2477003"/>
                </a:lnTo>
                <a:lnTo>
                  <a:pt x="9139239" y="2782562"/>
                </a:lnTo>
                <a:lnTo>
                  <a:pt x="9135069" y="2789374"/>
                </a:lnTo>
                <a:cubicBezTo>
                  <a:pt x="9008919" y="2963003"/>
                  <a:pt x="8815033" y="3086603"/>
                  <a:pt x="8590751" y="3123727"/>
                </a:cubicBezTo>
                <a:lnTo>
                  <a:pt x="8590635" y="3124875"/>
                </a:lnTo>
                <a:cubicBezTo>
                  <a:pt x="8585324" y="3125886"/>
                  <a:pt x="8579995" y="3126834"/>
                  <a:pt x="8574418" y="3126415"/>
                </a:cubicBezTo>
                <a:cubicBezTo>
                  <a:pt x="8543246" y="3131969"/>
                  <a:pt x="8511366" y="3134950"/>
                  <a:pt x="8478991" y="3135477"/>
                </a:cubicBezTo>
                <a:lnTo>
                  <a:pt x="8461873" y="3137103"/>
                </a:lnTo>
                <a:lnTo>
                  <a:pt x="8461847" y="3136608"/>
                </a:lnTo>
                <a:lnTo>
                  <a:pt x="8461348" y="3136641"/>
                </a:lnTo>
                <a:cubicBezTo>
                  <a:pt x="8460782" y="3132839"/>
                  <a:pt x="8460755" y="3129023"/>
                  <a:pt x="8460755" y="3125201"/>
                </a:cubicBezTo>
                <a:cubicBezTo>
                  <a:pt x="8460755" y="3119519"/>
                  <a:pt x="8460814" y="3113850"/>
                  <a:pt x="8462126" y="3108220"/>
                </a:cubicBezTo>
                <a:cubicBezTo>
                  <a:pt x="8462083" y="3076892"/>
                  <a:pt x="8464533" y="3046007"/>
                  <a:pt x="8469590" y="3015763"/>
                </a:cubicBezTo>
                <a:lnTo>
                  <a:pt x="8470130" y="3009073"/>
                </a:lnTo>
                <a:cubicBezTo>
                  <a:pt x="8470299" y="3009068"/>
                  <a:pt x="8470468" y="3009063"/>
                  <a:pt x="8470636" y="3009010"/>
                </a:cubicBezTo>
                <a:cubicBezTo>
                  <a:pt x="8514628" y="2700252"/>
                  <a:pt x="8735297" y="2446688"/>
                  <a:pt x="9030178" y="2348329"/>
                </a:cubicBezTo>
                <a:close/>
                <a:moveTo>
                  <a:pt x="7620280" y="2302594"/>
                </a:moveTo>
                <a:lnTo>
                  <a:pt x="7637367" y="2304217"/>
                </a:lnTo>
                <a:cubicBezTo>
                  <a:pt x="7669753" y="2304744"/>
                  <a:pt x="7701646" y="2307725"/>
                  <a:pt x="7732829" y="2313282"/>
                </a:cubicBezTo>
                <a:cubicBezTo>
                  <a:pt x="7738405" y="2312863"/>
                  <a:pt x="7743733" y="2313811"/>
                  <a:pt x="7749042" y="2314821"/>
                </a:cubicBezTo>
                <a:lnTo>
                  <a:pt x="7749159" y="2315969"/>
                </a:lnTo>
                <a:cubicBezTo>
                  <a:pt x="8108009" y="2375367"/>
                  <a:pt x="8389048" y="2656144"/>
                  <a:pt x="8439324" y="3009010"/>
                </a:cubicBezTo>
                <a:cubicBezTo>
                  <a:pt x="8439492" y="3009063"/>
                  <a:pt x="8439661" y="3009068"/>
                  <a:pt x="8439830" y="3009073"/>
                </a:cubicBezTo>
                <a:lnTo>
                  <a:pt x="8440370" y="3015763"/>
                </a:lnTo>
                <a:cubicBezTo>
                  <a:pt x="8445427" y="3046007"/>
                  <a:pt x="8447877" y="3076892"/>
                  <a:pt x="8447834" y="3108220"/>
                </a:cubicBezTo>
                <a:cubicBezTo>
                  <a:pt x="8449146" y="3113850"/>
                  <a:pt x="8449205" y="3119519"/>
                  <a:pt x="8449205" y="3125201"/>
                </a:cubicBezTo>
                <a:cubicBezTo>
                  <a:pt x="8449205" y="3129023"/>
                  <a:pt x="8449178" y="3132839"/>
                  <a:pt x="8448612" y="3136641"/>
                </a:cubicBezTo>
                <a:lnTo>
                  <a:pt x="8448113" y="3136608"/>
                </a:lnTo>
                <a:lnTo>
                  <a:pt x="8448087" y="3137103"/>
                </a:lnTo>
                <a:lnTo>
                  <a:pt x="8430969" y="3135477"/>
                </a:lnTo>
                <a:cubicBezTo>
                  <a:pt x="8398594" y="3134950"/>
                  <a:pt x="8366714" y="3131969"/>
                  <a:pt x="8335542" y="3126415"/>
                </a:cubicBezTo>
                <a:cubicBezTo>
                  <a:pt x="8329965" y="3126834"/>
                  <a:pt x="8324636" y="3125886"/>
                  <a:pt x="8319325" y="3124875"/>
                </a:cubicBezTo>
                <a:lnTo>
                  <a:pt x="8319209" y="3123727"/>
                </a:lnTo>
                <a:cubicBezTo>
                  <a:pt x="7960358" y="3064328"/>
                  <a:pt x="7679319" y="2783551"/>
                  <a:pt x="7629044" y="2430686"/>
                </a:cubicBezTo>
                <a:cubicBezTo>
                  <a:pt x="7628876" y="2430633"/>
                  <a:pt x="7628708" y="2430628"/>
                  <a:pt x="7628538" y="2430623"/>
                </a:cubicBezTo>
                <a:lnTo>
                  <a:pt x="7628000" y="2423947"/>
                </a:lnTo>
                <a:cubicBezTo>
                  <a:pt x="7622941" y="2393697"/>
                  <a:pt x="7620490" y="2362806"/>
                  <a:pt x="7620533" y="2331471"/>
                </a:cubicBezTo>
                <a:cubicBezTo>
                  <a:pt x="7619221" y="2325843"/>
                  <a:pt x="7619162" y="2320176"/>
                  <a:pt x="7619162" y="2314495"/>
                </a:cubicBezTo>
                <a:lnTo>
                  <a:pt x="7619756" y="2303055"/>
                </a:lnTo>
                <a:lnTo>
                  <a:pt x="7620254" y="2303088"/>
                </a:lnTo>
                <a:close/>
                <a:moveTo>
                  <a:pt x="7597529" y="2302594"/>
                </a:moveTo>
                <a:lnTo>
                  <a:pt x="7597555" y="2303088"/>
                </a:lnTo>
                <a:lnTo>
                  <a:pt x="7598053" y="2303055"/>
                </a:lnTo>
                <a:lnTo>
                  <a:pt x="7598647" y="2314495"/>
                </a:lnTo>
                <a:cubicBezTo>
                  <a:pt x="7598647" y="2320176"/>
                  <a:pt x="7598588" y="2325843"/>
                  <a:pt x="7597276" y="2331471"/>
                </a:cubicBezTo>
                <a:cubicBezTo>
                  <a:pt x="7597319" y="2362806"/>
                  <a:pt x="7594868" y="2393697"/>
                  <a:pt x="7589809" y="2423947"/>
                </a:cubicBezTo>
                <a:lnTo>
                  <a:pt x="7589271" y="2430623"/>
                </a:lnTo>
                <a:cubicBezTo>
                  <a:pt x="7589101" y="2430628"/>
                  <a:pt x="7588933" y="2430633"/>
                  <a:pt x="7588765" y="2430686"/>
                </a:cubicBezTo>
                <a:cubicBezTo>
                  <a:pt x="7538490" y="2783551"/>
                  <a:pt x="7257451" y="3064328"/>
                  <a:pt x="6898600" y="3123727"/>
                </a:cubicBezTo>
                <a:lnTo>
                  <a:pt x="6898484" y="3124875"/>
                </a:lnTo>
                <a:cubicBezTo>
                  <a:pt x="6893173" y="3125886"/>
                  <a:pt x="6887844" y="3126834"/>
                  <a:pt x="6882267" y="3126415"/>
                </a:cubicBezTo>
                <a:cubicBezTo>
                  <a:pt x="6851095" y="3131969"/>
                  <a:pt x="6819215" y="3134950"/>
                  <a:pt x="6786841" y="3135477"/>
                </a:cubicBezTo>
                <a:lnTo>
                  <a:pt x="6769722" y="3137103"/>
                </a:lnTo>
                <a:lnTo>
                  <a:pt x="6769696" y="3136608"/>
                </a:lnTo>
                <a:lnTo>
                  <a:pt x="6769197" y="3136641"/>
                </a:lnTo>
                <a:cubicBezTo>
                  <a:pt x="6768631" y="3132839"/>
                  <a:pt x="6768604" y="3129023"/>
                  <a:pt x="6768604" y="3125201"/>
                </a:cubicBezTo>
                <a:cubicBezTo>
                  <a:pt x="6768604" y="3119519"/>
                  <a:pt x="6768663" y="3113850"/>
                  <a:pt x="6769975" y="3108220"/>
                </a:cubicBezTo>
                <a:cubicBezTo>
                  <a:pt x="6769933" y="3076892"/>
                  <a:pt x="6772382" y="3046007"/>
                  <a:pt x="6777439" y="3015763"/>
                </a:cubicBezTo>
                <a:lnTo>
                  <a:pt x="6777979" y="3009073"/>
                </a:lnTo>
                <a:cubicBezTo>
                  <a:pt x="6778148" y="3009068"/>
                  <a:pt x="6778317" y="3009063"/>
                  <a:pt x="6778485" y="3009010"/>
                </a:cubicBezTo>
                <a:cubicBezTo>
                  <a:pt x="6828761" y="2656144"/>
                  <a:pt x="7109800" y="2375367"/>
                  <a:pt x="7468650" y="2315969"/>
                </a:cubicBezTo>
                <a:lnTo>
                  <a:pt x="7468767" y="2314821"/>
                </a:lnTo>
                <a:cubicBezTo>
                  <a:pt x="7474076" y="2313811"/>
                  <a:pt x="7479404" y="2312863"/>
                  <a:pt x="7484980" y="2313282"/>
                </a:cubicBezTo>
                <a:cubicBezTo>
                  <a:pt x="7516163" y="2307725"/>
                  <a:pt x="7548056" y="2304744"/>
                  <a:pt x="7580442" y="2304217"/>
                </a:cubicBezTo>
                <a:close/>
                <a:moveTo>
                  <a:pt x="5928129" y="2302594"/>
                </a:moveTo>
                <a:lnTo>
                  <a:pt x="5945217" y="2304217"/>
                </a:lnTo>
                <a:cubicBezTo>
                  <a:pt x="5977602" y="2304744"/>
                  <a:pt x="6009495" y="2307725"/>
                  <a:pt x="6040678" y="2313282"/>
                </a:cubicBezTo>
                <a:cubicBezTo>
                  <a:pt x="6046254" y="2312863"/>
                  <a:pt x="6051582" y="2313811"/>
                  <a:pt x="6056891" y="2314821"/>
                </a:cubicBezTo>
                <a:lnTo>
                  <a:pt x="6057008" y="2315969"/>
                </a:lnTo>
                <a:cubicBezTo>
                  <a:pt x="6415858" y="2375367"/>
                  <a:pt x="6696897" y="2656144"/>
                  <a:pt x="6747174" y="3009010"/>
                </a:cubicBezTo>
                <a:cubicBezTo>
                  <a:pt x="6747341" y="3009063"/>
                  <a:pt x="6747511" y="3009068"/>
                  <a:pt x="6747679" y="3009073"/>
                </a:cubicBezTo>
                <a:lnTo>
                  <a:pt x="6748220" y="3015763"/>
                </a:lnTo>
                <a:cubicBezTo>
                  <a:pt x="6753276" y="3046007"/>
                  <a:pt x="6755726" y="3076892"/>
                  <a:pt x="6755684" y="3108220"/>
                </a:cubicBezTo>
                <a:cubicBezTo>
                  <a:pt x="6756996" y="3113850"/>
                  <a:pt x="6757054" y="3119519"/>
                  <a:pt x="6757054" y="3125201"/>
                </a:cubicBezTo>
                <a:cubicBezTo>
                  <a:pt x="6757054" y="3129023"/>
                  <a:pt x="6757027" y="3132839"/>
                  <a:pt x="6756461" y="3136641"/>
                </a:cubicBezTo>
                <a:lnTo>
                  <a:pt x="6755962" y="3136608"/>
                </a:lnTo>
                <a:lnTo>
                  <a:pt x="6755936" y="3137103"/>
                </a:lnTo>
                <a:lnTo>
                  <a:pt x="6738818" y="3135477"/>
                </a:lnTo>
                <a:cubicBezTo>
                  <a:pt x="6706444" y="3134950"/>
                  <a:pt x="6674563" y="3131969"/>
                  <a:pt x="6643391" y="3126415"/>
                </a:cubicBezTo>
                <a:cubicBezTo>
                  <a:pt x="6637814" y="3126834"/>
                  <a:pt x="6632485" y="3125886"/>
                  <a:pt x="6627175" y="3124875"/>
                </a:cubicBezTo>
                <a:lnTo>
                  <a:pt x="6627059" y="3123727"/>
                </a:lnTo>
                <a:cubicBezTo>
                  <a:pt x="6268207" y="3064328"/>
                  <a:pt x="5987168" y="2783551"/>
                  <a:pt x="5936893" y="2430686"/>
                </a:cubicBezTo>
                <a:cubicBezTo>
                  <a:pt x="5936725" y="2430633"/>
                  <a:pt x="5936557" y="2430628"/>
                  <a:pt x="5936387" y="2430623"/>
                </a:cubicBezTo>
                <a:lnTo>
                  <a:pt x="5935849" y="2423947"/>
                </a:lnTo>
                <a:cubicBezTo>
                  <a:pt x="5930790" y="2393697"/>
                  <a:pt x="5928340" y="2362806"/>
                  <a:pt x="5928382" y="2331471"/>
                </a:cubicBezTo>
                <a:cubicBezTo>
                  <a:pt x="5927070" y="2325843"/>
                  <a:pt x="5927011" y="2320176"/>
                  <a:pt x="5927011" y="2314495"/>
                </a:cubicBezTo>
                <a:lnTo>
                  <a:pt x="5927605" y="2303055"/>
                </a:lnTo>
                <a:lnTo>
                  <a:pt x="5928103" y="2303088"/>
                </a:lnTo>
                <a:close/>
                <a:moveTo>
                  <a:pt x="5905378" y="2302594"/>
                </a:moveTo>
                <a:lnTo>
                  <a:pt x="5905404" y="2303088"/>
                </a:lnTo>
                <a:lnTo>
                  <a:pt x="5905902" y="2303055"/>
                </a:lnTo>
                <a:lnTo>
                  <a:pt x="5906496" y="2314495"/>
                </a:lnTo>
                <a:cubicBezTo>
                  <a:pt x="5906496" y="2320176"/>
                  <a:pt x="5906438" y="2325843"/>
                  <a:pt x="5905126" y="2331471"/>
                </a:cubicBezTo>
                <a:cubicBezTo>
                  <a:pt x="5905168" y="2362806"/>
                  <a:pt x="5902717" y="2393697"/>
                  <a:pt x="5897659" y="2423947"/>
                </a:cubicBezTo>
                <a:lnTo>
                  <a:pt x="5897120" y="2430623"/>
                </a:lnTo>
                <a:cubicBezTo>
                  <a:pt x="5896951" y="2430628"/>
                  <a:pt x="5896782" y="2430633"/>
                  <a:pt x="5896615" y="2430686"/>
                </a:cubicBezTo>
                <a:cubicBezTo>
                  <a:pt x="5846339" y="2783551"/>
                  <a:pt x="5565300" y="3064328"/>
                  <a:pt x="5206449" y="3123727"/>
                </a:cubicBezTo>
                <a:lnTo>
                  <a:pt x="5206334" y="3124875"/>
                </a:lnTo>
                <a:cubicBezTo>
                  <a:pt x="5201022" y="3125886"/>
                  <a:pt x="5195693" y="3126834"/>
                  <a:pt x="5190116" y="3126415"/>
                </a:cubicBezTo>
                <a:cubicBezTo>
                  <a:pt x="5158944" y="3131969"/>
                  <a:pt x="5127065" y="3134950"/>
                  <a:pt x="5094690" y="3135477"/>
                </a:cubicBezTo>
                <a:lnTo>
                  <a:pt x="5077571" y="3137103"/>
                </a:lnTo>
                <a:lnTo>
                  <a:pt x="5077545" y="3136608"/>
                </a:lnTo>
                <a:lnTo>
                  <a:pt x="5077046" y="3136641"/>
                </a:lnTo>
                <a:cubicBezTo>
                  <a:pt x="5076480" y="3132839"/>
                  <a:pt x="5076453" y="3129023"/>
                  <a:pt x="5076453" y="3125201"/>
                </a:cubicBezTo>
                <a:cubicBezTo>
                  <a:pt x="5076453" y="3119519"/>
                  <a:pt x="5076512" y="3113850"/>
                  <a:pt x="5077824" y="3108220"/>
                </a:cubicBezTo>
                <a:cubicBezTo>
                  <a:pt x="5077782" y="3076892"/>
                  <a:pt x="5080231" y="3046007"/>
                  <a:pt x="5085288" y="3015763"/>
                </a:cubicBezTo>
                <a:lnTo>
                  <a:pt x="5085828" y="3009073"/>
                </a:lnTo>
                <a:cubicBezTo>
                  <a:pt x="5085997" y="3009068"/>
                  <a:pt x="5086166" y="3009063"/>
                  <a:pt x="5086334" y="3009010"/>
                </a:cubicBezTo>
                <a:cubicBezTo>
                  <a:pt x="5136610" y="2656144"/>
                  <a:pt x="5417649" y="2375367"/>
                  <a:pt x="5776501" y="2315969"/>
                </a:cubicBezTo>
                <a:lnTo>
                  <a:pt x="5776617" y="2314821"/>
                </a:lnTo>
                <a:cubicBezTo>
                  <a:pt x="5781926" y="2313811"/>
                  <a:pt x="5787253" y="2312863"/>
                  <a:pt x="5792829" y="2313282"/>
                </a:cubicBezTo>
                <a:cubicBezTo>
                  <a:pt x="5824013" y="2307725"/>
                  <a:pt x="5855905" y="2304744"/>
                  <a:pt x="5888291" y="2304217"/>
                </a:cubicBezTo>
                <a:close/>
                <a:moveTo>
                  <a:pt x="4235979" y="2302594"/>
                </a:moveTo>
                <a:lnTo>
                  <a:pt x="4253065" y="2304217"/>
                </a:lnTo>
                <a:cubicBezTo>
                  <a:pt x="4285451" y="2304744"/>
                  <a:pt x="4317343" y="2307725"/>
                  <a:pt x="4348528" y="2313282"/>
                </a:cubicBezTo>
                <a:cubicBezTo>
                  <a:pt x="4354104" y="2312863"/>
                  <a:pt x="4359431" y="2313811"/>
                  <a:pt x="4364739" y="2314821"/>
                </a:cubicBezTo>
                <a:lnTo>
                  <a:pt x="4364856" y="2315969"/>
                </a:lnTo>
                <a:cubicBezTo>
                  <a:pt x="4723707" y="2375367"/>
                  <a:pt x="5004746" y="2656144"/>
                  <a:pt x="5055022" y="3009010"/>
                </a:cubicBezTo>
                <a:cubicBezTo>
                  <a:pt x="5055190" y="3009063"/>
                  <a:pt x="5055359" y="3009068"/>
                  <a:pt x="5055528" y="3009073"/>
                </a:cubicBezTo>
                <a:lnTo>
                  <a:pt x="5056068" y="3015763"/>
                </a:lnTo>
                <a:cubicBezTo>
                  <a:pt x="5061125" y="3046007"/>
                  <a:pt x="5063574" y="3076892"/>
                  <a:pt x="5063532" y="3108220"/>
                </a:cubicBezTo>
                <a:cubicBezTo>
                  <a:pt x="5064844" y="3113850"/>
                  <a:pt x="5064903" y="3119519"/>
                  <a:pt x="5064903" y="3125201"/>
                </a:cubicBezTo>
                <a:cubicBezTo>
                  <a:pt x="5064903" y="3129023"/>
                  <a:pt x="5064876" y="3132839"/>
                  <a:pt x="5064310" y="3136641"/>
                </a:cubicBezTo>
                <a:lnTo>
                  <a:pt x="5063811" y="3136608"/>
                </a:lnTo>
                <a:lnTo>
                  <a:pt x="5063785" y="3137103"/>
                </a:lnTo>
                <a:lnTo>
                  <a:pt x="5046666" y="3135477"/>
                </a:lnTo>
                <a:cubicBezTo>
                  <a:pt x="5014292" y="3134950"/>
                  <a:pt x="4982412" y="3131969"/>
                  <a:pt x="4951241" y="3126415"/>
                </a:cubicBezTo>
                <a:cubicBezTo>
                  <a:pt x="4945663" y="3126834"/>
                  <a:pt x="4940334" y="3125886"/>
                  <a:pt x="4935023" y="3124875"/>
                </a:cubicBezTo>
                <a:lnTo>
                  <a:pt x="4934907" y="3123727"/>
                </a:lnTo>
                <a:cubicBezTo>
                  <a:pt x="4576056" y="3064328"/>
                  <a:pt x="4295017" y="2783551"/>
                  <a:pt x="4244741" y="2430686"/>
                </a:cubicBezTo>
                <a:cubicBezTo>
                  <a:pt x="4244574" y="2430633"/>
                  <a:pt x="4244405" y="2430628"/>
                  <a:pt x="4244236" y="2430623"/>
                </a:cubicBezTo>
                <a:lnTo>
                  <a:pt x="4243697" y="2423947"/>
                </a:lnTo>
                <a:cubicBezTo>
                  <a:pt x="4238639" y="2393697"/>
                  <a:pt x="4236188" y="2362806"/>
                  <a:pt x="4236230" y="2331471"/>
                </a:cubicBezTo>
                <a:cubicBezTo>
                  <a:pt x="4234918" y="2325843"/>
                  <a:pt x="4234860" y="2320176"/>
                  <a:pt x="4234860" y="2314495"/>
                </a:cubicBezTo>
                <a:lnTo>
                  <a:pt x="4235454" y="2303055"/>
                </a:lnTo>
                <a:lnTo>
                  <a:pt x="4235952" y="2303088"/>
                </a:lnTo>
                <a:close/>
                <a:moveTo>
                  <a:pt x="4213227" y="2302594"/>
                </a:moveTo>
                <a:lnTo>
                  <a:pt x="4213253" y="2303088"/>
                </a:lnTo>
                <a:lnTo>
                  <a:pt x="4213751" y="2303055"/>
                </a:lnTo>
                <a:lnTo>
                  <a:pt x="4214345" y="2314495"/>
                </a:lnTo>
                <a:cubicBezTo>
                  <a:pt x="4214345" y="2320176"/>
                  <a:pt x="4214286" y="2325843"/>
                  <a:pt x="4212974" y="2331471"/>
                </a:cubicBezTo>
                <a:cubicBezTo>
                  <a:pt x="4213016" y="2362806"/>
                  <a:pt x="4210566" y="2393697"/>
                  <a:pt x="4205507" y="2423947"/>
                </a:cubicBezTo>
                <a:lnTo>
                  <a:pt x="4204969" y="2430623"/>
                </a:lnTo>
                <a:cubicBezTo>
                  <a:pt x="4204799" y="2430628"/>
                  <a:pt x="4204631" y="2430633"/>
                  <a:pt x="4204463" y="2430686"/>
                </a:cubicBezTo>
                <a:cubicBezTo>
                  <a:pt x="4154188" y="2783551"/>
                  <a:pt x="3873149" y="3064328"/>
                  <a:pt x="3514297" y="3123727"/>
                </a:cubicBezTo>
                <a:lnTo>
                  <a:pt x="3514181" y="3124875"/>
                </a:lnTo>
                <a:cubicBezTo>
                  <a:pt x="3508871" y="3125886"/>
                  <a:pt x="3503542" y="3126834"/>
                  <a:pt x="3497965" y="3126415"/>
                </a:cubicBezTo>
                <a:cubicBezTo>
                  <a:pt x="3466793" y="3131969"/>
                  <a:pt x="3434912" y="3134950"/>
                  <a:pt x="3402538" y="3135477"/>
                </a:cubicBezTo>
                <a:lnTo>
                  <a:pt x="3385420" y="3137103"/>
                </a:lnTo>
                <a:lnTo>
                  <a:pt x="3385394" y="3136608"/>
                </a:lnTo>
                <a:lnTo>
                  <a:pt x="3384895" y="3136641"/>
                </a:lnTo>
                <a:cubicBezTo>
                  <a:pt x="3384329" y="3132839"/>
                  <a:pt x="3384302" y="3129023"/>
                  <a:pt x="3384302" y="3125201"/>
                </a:cubicBezTo>
                <a:cubicBezTo>
                  <a:pt x="3384302" y="3119519"/>
                  <a:pt x="3384360" y="3113850"/>
                  <a:pt x="3385672" y="3108220"/>
                </a:cubicBezTo>
                <a:cubicBezTo>
                  <a:pt x="3385630" y="3076892"/>
                  <a:pt x="3388080" y="3046007"/>
                  <a:pt x="3393136" y="3015763"/>
                </a:cubicBezTo>
                <a:lnTo>
                  <a:pt x="3393677" y="3009073"/>
                </a:lnTo>
                <a:cubicBezTo>
                  <a:pt x="3393845" y="3009068"/>
                  <a:pt x="3394015" y="3009063"/>
                  <a:pt x="3394182" y="3009010"/>
                </a:cubicBezTo>
                <a:cubicBezTo>
                  <a:pt x="3444459" y="2656144"/>
                  <a:pt x="3725498" y="2375367"/>
                  <a:pt x="4084348" y="2315969"/>
                </a:cubicBezTo>
                <a:lnTo>
                  <a:pt x="4084465" y="2314821"/>
                </a:lnTo>
                <a:cubicBezTo>
                  <a:pt x="4089774" y="2313811"/>
                  <a:pt x="4095102" y="2312863"/>
                  <a:pt x="4100678" y="2313282"/>
                </a:cubicBezTo>
                <a:cubicBezTo>
                  <a:pt x="4131861" y="2307725"/>
                  <a:pt x="4163754" y="2304744"/>
                  <a:pt x="4196139" y="2304217"/>
                </a:cubicBezTo>
                <a:close/>
                <a:moveTo>
                  <a:pt x="2543827" y="2302594"/>
                </a:moveTo>
                <a:lnTo>
                  <a:pt x="2560914" y="2304217"/>
                </a:lnTo>
                <a:cubicBezTo>
                  <a:pt x="2593300" y="2304744"/>
                  <a:pt x="2625192" y="2307725"/>
                  <a:pt x="2656376" y="2313282"/>
                </a:cubicBezTo>
                <a:cubicBezTo>
                  <a:pt x="2661952" y="2312863"/>
                  <a:pt x="2667280" y="2313811"/>
                  <a:pt x="2672588" y="2314821"/>
                </a:cubicBezTo>
                <a:lnTo>
                  <a:pt x="2672706" y="2315969"/>
                </a:lnTo>
                <a:cubicBezTo>
                  <a:pt x="3031556" y="2375367"/>
                  <a:pt x="3312595" y="2656144"/>
                  <a:pt x="3362871" y="3009010"/>
                </a:cubicBezTo>
                <a:cubicBezTo>
                  <a:pt x="3363039" y="3009063"/>
                  <a:pt x="3363208" y="3009068"/>
                  <a:pt x="3363377" y="3009073"/>
                </a:cubicBezTo>
                <a:lnTo>
                  <a:pt x="3363917" y="3015763"/>
                </a:lnTo>
                <a:cubicBezTo>
                  <a:pt x="3368974" y="3046007"/>
                  <a:pt x="3371423" y="3076892"/>
                  <a:pt x="3371381" y="3108220"/>
                </a:cubicBezTo>
                <a:cubicBezTo>
                  <a:pt x="3372693" y="3113850"/>
                  <a:pt x="3372752" y="3119519"/>
                  <a:pt x="3372752" y="3125201"/>
                </a:cubicBezTo>
                <a:cubicBezTo>
                  <a:pt x="3372752" y="3129023"/>
                  <a:pt x="3372725" y="3132839"/>
                  <a:pt x="3372159" y="3136641"/>
                </a:cubicBezTo>
                <a:lnTo>
                  <a:pt x="3371660" y="3136608"/>
                </a:lnTo>
                <a:lnTo>
                  <a:pt x="3371634" y="3137103"/>
                </a:lnTo>
                <a:lnTo>
                  <a:pt x="3354515" y="3135477"/>
                </a:lnTo>
                <a:cubicBezTo>
                  <a:pt x="3322141" y="3134950"/>
                  <a:pt x="3290261" y="3131969"/>
                  <a:pt x="3259089" y="3126415"/>
                </a:cubicBezTo>
                <a:cubicBezTo>
                  <a:pt x="3253512" y="3126834"/>
                  <a:pt x="3248183" y="3125886"/>
                  <a:pt x="3242872" y="3124875"/>
                </a:cubicBezTo>
                <a:lnTo>
                  <a:pt x="3242756" y="3123727"/>
                </a:lnTo>
                <a:cubicBezTo>
                  <a:pt x="2883905" y="3064328"/>
                  <a:pt x="2602866" y="2783551"/>
                  <a:pt x="2552590" y="2430686"/>
                </a:cubicBezTo>
                <a:cubicBezTo>
                  <a:pt x="2552423" y="2430633"/>
                  <a:pt x="2552254" y="2430628"/>
                  <a:pt x="2552085" y="2430623"/>
                </a:cubicBezTo>
                <a:lnTo>
                  <a:pt x="2551547" y="2423947"/>
                </a:lnTo>
                <a:cubicBezTo>
                  <a:pt x="2546488" y="2393697"/>
                  <a:pt x="2544037" y="2362806"/>
                  <a:pt x="2544079" y="2331471"/>
                </a:cubicBezTo>
                <a:cubicBezTo>
                  <a:pt x="2542767" y="2325843"/>
                  <a:pt x="2542709" y="2320176"/>
                  <a:pt x="2542709" y="2314495"/>
                </a:cubicBezTo>
                <a:lnTo>
                  <a:pt x="2543303" y="2303055"/>
                </a:lnTo>
                <a:lnTo>
                  <a:pt x="2543801" y="2303088"/>
                </a:lnTo>
                <a:close/>
                <a:moveTo>
                  <a:pt x="2521076" y="2302594"/>
                </a:moveTo>
                <a:lnTo>
                  <a:pt x="2521102" y="2303088"/>
                </a:lnTo>
                <a:lnTo>
                  <a:pt x="2521600" y="2303055"/>
                </a:lnTo>
                <a:lnTo>
                  <a:pt x="2522194" y="2314495"/>
                </a:lnTo>
                <a:cubicBezTo>
                  <a:pt x="2522194" y="2320176"/>
                  <a:pt x="2522135" y="2325843"/>
                  <a:pt x="2520823" y="2331471"/>
                </a:cubicBezTo>
                <a:cubicBezTo>
                  <a:pt x="2520865" y="2362806"/>
                  <a:pt x="2518415" y="2393697"/>
                  <a:pt x="2513356" y="2423947"/>
                </a:cubicBezTo>
                <a:lnTo>
                  <a:pt x="2512818" y="2430623"/>
                </a:lnTo>
                <a:cubicBezTo>
                  <a:pt x="2512648" y="2430628"/>
                  <a:pt x="2512480" y="2430633"/>
                  <a:pt x="2512312" y="2430686"/>
                </a:cubicBezTo>
                <a:cubicBezTo>
                  <a:pt x="2462037" y="2783551"/>
                  <a:pt x="2180998" y="3064328"/>
                  <a:pt x="1822147" y="3123727"/>
                </a:cubicBezTo>
                <a:lnTo>
                  <a:pt x="1822030" y="3124875"/>
                </a:lnTo>
                <a:cubicBezTo>
                  <a:pt x="1816720" y="3125886"/>
                  <a:pt x="1811391" y="3126834"/>
                  <a:pt x="1805814" y="3126415"/>
                </a:cubicBezTo>
                <a:cubicBezTo>
                  <a:pt x="1774642" y="3131969"/>
                  <a:pt x="1742762" y="3134950"/>
                  <a:pt x="1710387" y="3135477"/>
                </a:cubicBezTo>
                <a:lnTo>
                  <a:pt x="1693269" y="3137103"/>
                </a:lnTo>
                <a:lnTo>
                  <a:pt x="1693243" y="3136608"/>
                </a:lnTo>
                <a:lnTo>
                  <a:pt x="1692744" y="3136641"/>
                </a:lnTo>
                <a:cubicBezTo>
                  <a:pt x="1692178" y="3132839"/>
                  <a:pt x="1692151" y="3129023"/>
                  <a:pt x="1692151" y="3125201"/>
                </a:cubicBezTo>
                <a:cubicBezTo>
                  <a:pt x="1692151" y="3119519"/>
                  <a:pt x="1692209" y="3113850"/>
                  <a:pt x="1693521" y="3108220"/>
                </a:cubicBezTo>
                <a:cubicBezTo>
                  <a:pt x="1693479" y="3076892"/>
                  <a:pt x="1695929" y="3046007"/>
                  <a:pt x="1700985" y="3015763"/>
                </a:cubicBezTo>
                <a:lnTo>
                  <a:pt x="1701526" y="3009073"/>
                </a:lnTo>
                <a:cubicBezTo>
                  <a:pt x="1701694" y="3009068"/>
                  <a:pt x="1701864" y="3009063"/>
                  <a:pt x="1702031" y="3009010"/>
                </a:cubicBezTo>
                <a:cubicBezTo>
                  <a:pt x="1752308" y="2656144"/>
                  <a:pt x="2033347" y="2375367"/>
                  <a:pt x="2392197" y="2315969"/>
                </a:cubicBezTo>
                <a:lnTo>
                  <a:pt x="2392314" y="2314821"/>
                </a:lnTo>
                <a:cubicBezTo>
                  <a:pt x="2397623" y="2313811"/>
                  <a:pt x="2402951" y="2312863"/>
                  <a:pt x="2408527" y="2313282"/>
                </a:cubicBezTo>
                <a:cubicBezTo>
                  <a:pt x="2439710" y="2307725"/>
                  <a:pt x="2471603" y="2304744"/>
                  <a:pt x="2503988" y="2304217"/>
                </a:cubicBezTo>
                <a:close/>
                <a:moveTo>
                  <a:pt x="851676" y="2302594"/>
                </a:moveTo>
                <a:lnTo>
                  <a:pt x="868763" y="2304217"/>
                </a:lnTo>
                <a:cubicBezTo>
                  <a:pt x="901149" y="2304744"/>
                  <a:pt x="933041" y="2307725"/>
                  <a:pt x="964225" y="2313282"/>
                </a:cubicBezTo>
                <a:cubicBezTo>
                  <a:pt x="969801" y="2312863"/>
                  <a:pt x="975129" y="2313811"/>
                  <a:pt x="980437" y="2314821"/>
                </a:cubicBezTo>
                <a:lnTo>
                  <a:pt x="980555" y="2315969"/>
                </a:lnTo>
                <a:cubicBezTo>
                  <a:pt x="1339405" y="2375367"/>
                  <a:pt x="1620444" y="2656144"/>
                  <a:pt x="1670720" y="3009010"/>
                </a:cubicBezTo>
                <a:cubicBezTo>
                  <a:pt x="1670888" y="3009063"/>
                  <a:pt x="1671057" y="3009068"/>
                  <a:pt x="1671226" y="3009073"/>
                </a:cubicBezTo>
                <a:lnTo>
                  <a:pt x="1671766" y="3015763"/>
                </a:lnTo>
                <a:cubicBezTo>
                  <a:pt x="1676823" y="3046007"/>
                  <a:pt x="1679272" y="3076892"/>
                  <a:pt x="1679230" y="3108220"/>
                </a:cubicBezTo>
                <a:cubicBezTo>
                  <a:pt x="1680542" y="3113850"/>
                  <a:pt x="1680601" y="3119519"/>
                  <a:pt x="1680601" y="3125201"/>
                </a:cubicBezTo>
                <a:cubicBezTo>
                  <a:pt x="1680601" y="3129023"/>
                  <a:pt x="1680574" y="3132839"/>
                  <a:pt x="1680008" y="3136641"/>
                </a:cubicBezTo>
                <a:lnTo>
                  <a:pt x="1679509" y="3136608"/>
                </a:lnTo>
                <a:lnTo>
                  <a:pt x="1679483" y="3137103"/>
                </a:lnTo>
                <a:lnTo>
                  <a:pt x="1662364" y="3135477"/>
                </a:lnTo>
                <a:cubicBezTo>
                  <a:pt x="1629990" y="3134950"/>
                  <a:pt x="1598110" y="3131969"/>
                  <a:pt x="1566938" y="3126415"/>
                </a:cubicBezTo>
                <a:cubicBezTo>
                  <a:pt x="1561361" y="3126834"/>
                  <a:pt x="1556032" y="3125886"/>
                  <a:pt x="1550721" y="3124875"/>
                </a:cubicBezTo>
                <a:lnTo>
                  <a:pt x="1550605" y="3123727"/>
                </a:lnTo>
                <a:cubicBezTo>
                  <a:pt x="1191754" y="3064328"/>
                  <a:pt x="910715" y="2783551"/>
                  <a:pt x="860439" y="2430686"/>
                </a:cubicBezTo>
                <a:cubicBezTo>
                  <a:pt x="860272" y="2430633"/>
                  <a:pt x="860103" y="2430628"/>
                  <a:pt x="859934" y="2430623"/>
                </a:cubicBezTo>
                <a:lnTo>
                  <a:pt x="859396" y="2423947"/>
                </a:lnTo>
                <a:cubicBezTo>
                  <a:pt x="854337" y="2393697"/>
                  <a:pt x="851886" y="2362806"/>
                  <a:pt x="851928" y="2331471"/>
                </a:cubicBezTo>
                <a:cubicBezTo>
                  <a:pt x="850616" y="2325843"/>
                  <a:pt x="850558" y="2320176"/>
                  <a:pt x="850558" y="2314495"/>
                </a:cubicBezTo>
                <a:lnTo>
                  <a:pt x="851152" y="2303055"/>
                </a:lnTo>
                <a:lnTo>
                  <a:pt x="851650" y="2303088"/>
                </a:lnTo>
                <a:close/>
                <a:moveTo>
                  <a:pt x="828925" y="2302594"/>
                </a:moveTo>
                <a:lnTo>
                  <a:pt x="828951" y="2303088"/>
                </a:lnTo>
                <a:lnTo>
                  <a:pt x="829449" y="2303055"/>
                </a:lnTo>
                <a:lnTo>
                  <a:pt x="830043" y="2314495"/>
                </a:lnTo>
                <a:cubicBezTo>
                  <a:pt x="830043" y="2320176"/>
                  <a:pt x="829984" y="2325843"/>
                  <a:pt x="828672" y="2331471"/>
                </a:cubicBezTo>
                <a:cubicBezTo>
                  <a:pt x="828714" y="2362806"/>
                  <a:pt x="826264" y="2393697"/>
                  <a:pt x="821205" y="2423947"/>
                </a:cubicBezTo>
                <a:lnTo>
                  <a:pt x="820667" y="2430623"/>
                </a:lnTo>
                <a:cubicBezTo>
                  <a:pt x="820497" y="2430628"/>
                  <a:pt x="820329" y="2430633"/>
                  <a:pt x="820161" y="2430686"/>
                </a:cubicBezTo>
                <a:cubicBezTo>
                  <a:pt x="769886" y="2783551"/>
                  <a:pt x="488847" y="3064328"/>
                  <a:pt x="129995" y="3123727"/>
                </a:cubicBezTo>
                <a:lnTo>
                  <a:pt x="129879" y="3124875"/>
                </a:lnTo>
                <a:cubicBezTo>
                  <a:pt x="124569" y="3125886"/>
                  <a:pt x="119240" y="3126834"/>
                  <a:pt x="113663" y="3126415"/>
                </a:cubicBezTo>
                <a:cubicBezTo>
                  <a:pt x="82491" y="3131969"/>
                  <a:pt x="50611" y="3134950"/>
                  <a:pt x="18236" y="3135477"/>
                </a:cubicBezTo>
                <a:lnTo>
                  <a:pt x="1118" y="3137103"/>
                </a:lnTo>
                <a:lnTo>
                  <a:pt x="1092" y="3136608"/>
                </a:lnTo>
                <a:lnTo>
                  <a:pt x="593" y="3136641"/>
                </a:lnTo>
                <a:cubicBezTo>
                  <a:pt x="27" y="3132839"/>
                  <a:pt x="0" y="3129023"/>
                  <a:pt x="0" y="3125201"/>
                </a:cubicBezTo>
                <a:cubicBezTo>
                  <a:pt x="0" y="3119519"/>
                  <a:pt x="58" y="3113850"/>
                  <a:pt x="1370" y="3108220"/>
                </a:cubicBezTo>
                <a:cubicBezTo>
                  <a:pt x="1328" y="3076892"/>
                  <a:pt x="3778" y="3046007"/>
                  <a:pt x="8835" y="3015763"/>
                </a:cubicBezTo>
                <a:lnTo>
                  <a:pt x="9375" y="3009073"/>
                </a:lnTo>
                <a:cubicBezTo>
                  <a:pt x="9543" y="3009068"/>
                  <a:pt x="9713" y="3009063"/>
                  <a:pt x="9880" y="3009010"/>
                </a:cubicBezTo>
                <a:cubicBezTo>
                  <a:pt x="60157" y="2656144"/>
                  <a:pt x="341196" y="2375367"/>
                  <a:pt x="700046" y="2315969"/>
                </a:cubicBezTo>
                <a:lnTo>
                  <a:pt x="700163" y="2314821"/>
                </a:lnTo>
                <a:cubicBezTo>
                  <a:pt x="705472" y="2313811"/>
                  <a:pt x="710800" y="2312863"/>
                  <a:pt x="716376" y="2313282"/>
                </a:cubicBezTo>
                <a:cubicBezTo>
                  <a:pt x="747559" y="2307725"/>
                  <a:pt x="779452" y="2304744"/>
                  <a:pt x="811837" y="2304217"/>
                </a:cubicBezTo>
                <a:close/>
                <a:moveTo>
                  <a:pt x="8305836" y="1608087"/>
                </a:moveTo>
                <a:cubicBezTo>
                  <a:pt x="8030646" y="1666766"/>
                  <a:pt x="7815802" y="1879876"/>
                  <a:pt x="7762527" y="2148655"/>
                </a:cubicBezTo>
                <a:cubicBezTo>
                  <a:pt x="8037717" y="2089976"/>
                  <a:pt x="8252560" y="1876866"/>
                  <a:pt x="8305836" y="1608087"/>
                </a:cubicBezTo>
                <a:close/>
                <a:moveTo>
                  <a:pt x="6911971" y="1608087"/>
                </a:moveTo>
                <a:cubicBezTo>
                  <a:pt x="6965247" y="1876866"/>
                  <a:pt x="7180090" y="2089976"/>
                  <a:pt x="7455280" y="2148655"/>
                </a:cubicBezTo>
                <a:cubicBezTo>
                  <a:pt x="7402005" y="1879876"/>
                  <a:pt x="7187161" y="1666766"/>
                  <a:pt x="6911971" y="1608087"/>
                </a:cubicBezTo>
                <a:close/>
                <a:moveTo>
                  <a:pt x="6613685" y="1608087"/>
                </a:moveTo>
                <a:cubicBezTo>
                  <a:pt x="6338495" y="1666766"/>
                  <a:pt x="6123651" y="1879876"/>
                  <a:pt x="6070376" y="2148655"/>
                </a:cubicBezTo>
                <a:cubicBezTo>
                  <a:pt x="6345566" y="2089976"/>
                  <a:pt x="6560409" y="1876866"/>
                  <a:pt x="6613685" y="1608087"/>
                </a:cubicBezTo>
                <a:close/>
                <a:moveTo>
                  <a:pt x="5219820" y="1608087"/>
                </a:moveTo>
                <a:cubicBezTo>
                  <a:pt x="5273096" y="1876866"/>
                  <a:pt x="5487939" y="2089976"/>
                  <a:pt x="5763129" y="2148655"/>
                </a:cubicBezTo>
                <a:cubicBezTo>
                  <a:pt x="5709854" y="1879876"/>
                  <a:pt x="5495010" y="1666766"/>
                  <a:pt x="5219820" y="1608087"/>
                </a:cubicBezTo>
                <a:close/>
                <a:moveTo>
                  <a:pt x="4921534" y="1608087"/>
                </a:moveTo>
                <a:cubicBezTo>
                  <a:pt x="4646344" y="1666766"/>
                  <a:pt x="4431500" y="1879876"/>
                  <a:pt x="4378225" y="2148655"/>
                </a:cubicBezTo>
                <a:cubicBezTo>
                  <a:pt x="4653415" y="2089976"/>
                  <a:pt x="4868259" y="1876866"/>
                  <a:pt x="4921534" y="1608087"/>
                </a:cubicBezTo>
                <a:close/>
                <a:moveTo>
                  <a:pt x="3527669" y="1608087"/>
                </a:moveTo>
                <a:cubicBezTo>
                  <a:pt x="3580945" y="1876866"/>
                  <a:pt x="3795788" y="2089976"/>
                  <a:pt x="4070978" y="2148655"/>
                </a:cubicBezTo>
                <a:cubicBezTo>
                  <a:pt x="4017703" y="1879876"/>
                  <a:pt x="3802859" y="1666766"/>
                  <a:pt x="3527669" y="1608087"/>
                </a:cubicBezTo>
                <a:close/>
                <a:moveTo>
                  <a:pt x="3229383" y="1608087"/>
                </a:moveTo>
                <a:cubicBezTo>
                  <a:pt x="2954193" y="1666766"/>
                  <a:pt x="2739349" y="1879876"/>
                  <a:pt x="2686074" y="2148655"/>
                </a:cubicBezTo>
                <a:cubicBezTo>
                  <a:pt x="2961264" y="2089976"/>
                  <a:pt x="3176107" y="1876866"/>
                  <a:pt x="3229383" y="1608087"/>
                </a:cubicBezTo>
                <a:close/>
                <a:moveTo>
                  <a:pt x="1835518" y="1608087"/>
                </a:moveTo>
                <a:cubicBezTo>
                  <a:pt x="1888794" y="1876866"/>
                  <a:pt x="2103637" y="2089976"/>
                  <a:pt x="2378827" y="2148655"/>
                </a:cubicBezTo>
                <a:cubicBezTo>
                  <a:pt x="2325552" y="1879876"/>
                  <a:pt x="2110708" y="1666766"/>
                  <a:pt x="1835518" y="1608087"/>
                </a:cubicBezTo>
                <a:close/>
                <a:moveTo>
                  <a:pt x="1537232" y="1608087"/>
                </a:moveTo>
                <a:cubicBezTo>
                  <a:pt x="1262042" y="1666766"/>
                  <a:pt x="1047198" y="1879876"/>
                  <a:pt x="993923" y="2148655"/>
                </a:cubicBezTo>
                <a:cubicBezTo>
                  <a:pt x="1269113" y="2089976"/>
                  <a:pt x="1483956" y="1876866"/>
                  <a:pt x="1537232" y="1608087"/>
                </a:cubicBezTo>
                <a:close/>
                <a:moveTo>
                  <a:pt x="143367" y="1608087"/>
                </a:moveTo>
                <a:cubicBezTo>
                  <a:pt x="196643" y="1876866"/>
                  <a:pt x="411486" y="2089976"/>
                  <a:pt x="686676" y="2148655"/>
                </a:cubicBezTo>
                <a:cubicBezTo>
                  <a:pt x="633401" y="1879876"/>
                  <a:pt x="418557" y="1666766"/>
                  <a:pt x="143367" y="1608087"/>
                </a:cubicBezTo>
                <a:close/>
                <a:moveTo>
                  <a:pt x="8461873" y="1464394"/>
                </a:moveTo>
                <a:lnTo>
                  <a:pt x="8478960" y="1466004"/>
                </a:lnTo>
                <a:cubicBezTo>
                  <a:pt x="8511346" y="1466527"/>
                  <a:pt x="8543239" y="1469485"/>
                  <a:pt x="8574422" y="1474998"/>
                </a:cubicBezTo>
                <a:cubicBezTo>
                  <a:pt x="8579998" y="1474582"/>
                  <a:pt x="8585326" y="1475523"/>
                  <a:pt x="8590635" y="1476525"/>
                </a:cubicBezTo>
                <a:lnTo>
                  <a:pt x="8590752" y="1477664"/>
                </a:lnTo>
                <a:cubicBezTo>
                  <a:pt x="8815033" y="1514497"/>
                  <a:pt x="9008920" y="1637126"/>
                  <a:pt x="9135069" y="1809390"/>
                </a:cubicBezTo>
                <a:lnTo>
                  <a:pt x="9139239" y="1816149"/>
                </a:lnTo>
                <a:lnTo>
                  <a:pt x="9139239" y="2119309"/>
                </a:lnTo>
                <a:lnTo>
                  <a:pt x="9120077" y="2050665"/>
                </a:lnTo>
                <a:cubicBezTo>
                  <a:pt x="9039502" y="1829012"/>
                  <a:pt x="8844913" y="1659431"/>
                  <a:pt x="8604122" y="1608087"/>
                </a:cubicBezTo>
                <a:cubicBezTo>
                  <a:pt x="8650738" y="1843269"/>
                  <a:pt x="8821055" y="2035829"/>
                  <a:pt x="9047261" y="2119605"/>
                </a:cubicBezTo>
                <a:lnTo>
                  <a:pt x="9139239" y="2146279"/>
                </a:lnTo>
                <a:lnTo>
                  <a:pt x="9139239" y="2273778"/>
                </a:lnTo>
                <a:lnTo>
                  <a:pt x="9030179" y="2246972"/>
                </a:lnTo>
                <a:cubicBezTo>
                  <a:pt x="8735297" y="2149386"/>
                  <a:pt x="8514628" y="1897812"/>
                  <a:pt x="8470637" y="1591480"/>
                </a:cubicBezTo>
                <a:cubicBezTo>
                  <a:pt x="8470469" y="1591427"/>
                  <a:pt x="8470301" y="1591423"/>
                  <a:pt x="8470131" y="1591418"/>
                </a:cubicBezTo>
                <a:lnTo>
                  <a:pt x="8469593" y="1584794"/>
                </a:lnTo>
                <a:cubicBezTo>
                  <a:pt x="8464534" y="1554782"/>
                  <a:pt x="8462083" y="1524133"/>
                  <a:pt x="8462126" y="1493044"/>
                </a:cubicBezTo>
                <a:cubicBezTo>
                  <a:pt x="8460814" y="1487460"/>
                  <a:pt x="8460755" y="1481838"/>
                  <a:pt x="8460755" y="1476202"/>
                </a:cubicBezTo>
                <a:lnTo>
                  <a:pt x="8461349" y="1464852"/>
                </a:lnTo>
                <a:lnTo>
                  <a:pt x="8461847" y="1464884"/>
                </a:lnTo>
                <a:close/>
                <a:moveTo>
                  <a:pt x="8448085" y="1464394"/>
                </a:moveTo>
                <a:lnTo>
                  <a:pt x="8448111" y="1464884"/>
                </a:lnTo>
                <a:lnTo>
                  <a:pt x="8448609" y="1464852"/>
                </a:lnTo>
                <a:lnTo>
                  <a:pt x="8449203" y="1476202"/>
                </a:lnTo>
                <a:cubicBezTo>
                  <a:pt x="8449203" y="1481838"/>
                  <a:pt x="8449144" y="1487460"/>
                  <a:pt x="8447832" y="1493044"/>
                </a:cubicBezTo>
                <a:cubicBezTo>
                  <a:pt x="8447875" y="1524133"/>
                  <a:pt x="8445424" y="1554782"/>
                  <a:pt x="8440365" y="1584794"/>
                </a:cubicBezTo>
                <a:lnTo>
                  <a:pt x="8439827" y="1591418"/>
                </a:lnTo>
                <a:cubicBezTo>
                  <a:pt x="8439657" y="1591423"/>
                  <a:pt x="8439489" y="1591427"/>
                  <a:pt x="8439321" y="1591480"/>
                </a:cubicBezTo>
                <a:cubicBezTo>
                  <a:pt x="8389046" y="1941574"/>
                  <a:pt x="8108007" y="2220146"/>
                  <a:pt x="7749156" y="2279078"/>
                </a:cubicBezTo>
                <a:lnTo>
                  <a:pt x="7749040" y="2280217"/>
                </a:lnTo>
                <a:cubicBezTo>
                  <a:pt x="7743729" y="2281220"/>
                  <a:pt x="7738400" y="2282161"/>
                  <a:pt x="7732823" y="2281745"/>
                </a:cubicBezTo>
                <a:cubicBezTo>
                  <a:pt x="7701651" y="2287255"/>
                  <a:pt x="7669771" y="2290213"/>
                  <a:pt x="7637396" y="2290736"/>
                </a:cubicBezTo>
                <a:lnTo>
                  <a:pt x="7620278" y="2292349"/>
                </a:lnTo>
                <a:lnTo>
                  <a:pt x="7620252" y="2291858"/>
                </a:lnTo>
                <a:lnTo>
                  <a:pt x="7619753" y="2291891"/>
                </a:lnTo>
                <a:cubicBezTo>
                  <a:pt x="7619187" y="2288119"/>
                  <a:pt x="7619160" y="2284333"/>
                  <a:pt x="7619160" y="2280541"/>
                </a:cubicBezTo>
                <a:cubicBezTo>
                  <a:pt x="7619160" y="2274903"/>
                  <a:pt x="7619219" y="2269279"/>
                  <a:pt x="7620531" y="2263693"/>
                </a:cubicBezTo>
                <a:cubicBezTo>
                  <a:pt x="7620488" y="2232611"/>
                  <a:pt x="7622938" y="2201969"/>
                  <a:pt x="7627995" y="2171962"/>
                </a:cubicBezTo>
                <a:lnTo>
                  <a:pt x="7628535" y="2165325"/>
                </a:lnTo>
                <a:cubicBezTo>
                  <a:pt x="7628704" y="2165320"/>
                  <a:pt x="7628873" y="2165315"/>
                  <a:pt x="7629040" y="2165262"/>
                </a:cubicBezTo>
                <a:cubicBezTo>
                  <a:pt x="7679317" y="1815167"/>
                  <a:pt x="7960356" y="1536596"/>
                  <a:pt x="8319206" y="1477664"/>
                </a:cubicBezTo>
                <a:lnTo>
                  <a:pt x="8319323" y="1476525"/>
                </a:lnTo>
                <a:cubicBezTo>
                  <a:pt x="8324632" y="1475523"/>
                  <a:pt x="8329960" y="1474582"/>
                  <a:pt x="8335536" y="1474998"/>
                </a:cubicBezTo>
                <a:cubicBezTo>
                  <a:pt x="8366719" y="1469485"/>
                  <a:pt x="8398612" y="1466527"/>
                  <a:pt x="8430998" y="1466004"/>
                </a:cubicBezTo>
                <a:close/>
                <a:moveTo>
                  <a:pt x="6769722" y="1464394"/>
                </a:moveTo>
                <a:lnTo>
                  <a:pt x="6786810" y="1466004"/>
                </a:lnTo>
                <a:cubicBezTo>
                  <a:pt x="6819195" y="1466527"/>
                  <a:pt x="6851088" y="1469485"/>
                  <a:pt x="6882271" y="1474998"/>
                </a:cubicBezTo>
                <a:cubicBezTo>
                  <a:pt x="6887847" y="1474582"/>
                  <a:pt x="6893175" y="1475523"/>
                  <a:pt x="6898484" y="1476525"/>
                </a:cubicBezTo>
                <a:lnTo>
                  <a:pt x="6898601" y="1477664"/>
                </a:lnTo>
                <a:cubicBezTo>
                  <a:pt x="7257451" y="1536596"/>
                  <a:pt x="7538490" y="1815167"/>
                  <a:pt x="7588766" y="2165262"/>
                </a:cubicBezTo>
                <a:cubicBezTo>
                  <a:pt x="7588934" y="2165315"/>
                  <a:pt x="7589103" y="2165320"/>
                  <a:pt x="7589272" y="2165325"/>
                </a:cubicBezTo>
                <a:lnTo>
                  <a:pt x="7589812" y="2171962"/>
                </a:lnTo>
                <a:cubicBezTo>
                  <a:pt x="7594869" y="2201969"/>
                  <a:pt x="7597319" y="2232611"/>
                  <a:pt x="7597276" y="2263693"/>
                </a:cubicBezTo>
                <a:cubicBezTo>
                  <a:pt x="7598588" y="2269279"/>
                  <a:pt x="7598647" y="2274903"/>
                  <a:pt x="7598647" y="2280541"/>
                </a:cubicBezTo>
                <a:cubicBezTo>
                  <a:pt x="7598647" y="2284333"/>
                  <a:pt x="7598620" y="2288119"/>
                  <a:pt x="7598054" y="2291891"/>
                </a:cubicBezTo>
                <a:lnTo>
                  <a:pt x="7597555" y="2291858"/>
                </a:lnTo>
                <a:lnTo>
                  <a:pt x="7597529" y="2292349"/>
                </a:lnTo>
                <a:lnTo>
                  <a:pt x="7580411" y="2290736"/>
                </a:lnTo>
                <a:cubicBezTo>
                  <a:pt x="7548036" y="2290213"/>
                  <a:pt x="7516156" y="2287255"/>
                  <a:pt x="7484984" y="2281745"/>
                </a:cubicBezTo>
                <a:cubicBezTo>
                  <a:pt x="7479407" y="2282161"/>
                  <a:pt x="7474078" y="2281220"/>
                  <a:pt x="7468767" y="2280217"/>
                </a:cubicBezTo>
                <a:lnTo>
                  <a:pt x="7468651" y="2279078"/>
                </a:lnTo>
                <a:cubicBezTo>
                  <a:pt x="7109800" y="2220146"/>
                  <a:pt x="6828761" y="1941574"/>
                  <a:pt x="6778486" y="1591480"/>
                </a:cubicBezTo>
                <a:cubicBezTo>
                  <a:pt x="6778318" y="1591427"/>
                  <a:pt x="6778150" y="1591423"/>
                  <a:pt x="6777980" y="1591418"/>
                </a:cubicBezTo>
                <a:lnTo>
                  <a:pt x="6777442" y="1584794"/>
                </a:lnTo>
                <a:cubicBezTo>
                  <a:pt x="6772383" y="1554782"/>
                  <a:pt x="6769933" y="1524133"/>
                  <a:pt x="6769975" y="1493044"/>
                </a:cubicBezTo>
                <a:cubicBezTo>
                  <a:pt x="6768663" y="1487460"/>
                  <a:pt x="6768604" y="1481838"/>
                  <a:pt x="6768604" y="1476202"/>
                </a:cubicBezTo>
                <a:lnTo>
                  <a:pt x="6769198" y="1464852"/>
                </a:lnTo>
                <a:lnTo>
                  <a:pt x="6769696" y="1464884"/>
                </a:lnTo>
                <a:close/>
                <a:moveTo>
                  <a:pt x="6755934" y="1464394"/>
                </a:moveTo>
                <a:lnTo>
                  <a:pt x="6755960" y="1464884"/>
                </a:lnTo>
                <a:lnTo>
                  <a:pt x="6756458" y="1464852"/>
                </a:lnTo>
                <a:lnTo>
                  <a:pt x="6757052" y="1476202"/>
                </a:lnTo>
                <a:cubicBezTo>
                  <a:pt x="6757052" y="1481838"/>
                  <a:pt x="6756994" y="1487460"/>
                  <a:pt x="6755682" y="1493044"/>
                </a:cubicBezTo>
                <a:cubicBezTo>
                  <a:pt x="6755724" y="1524133"/>
                  <a:pt x="6753273" y="1554782"/>
                  <a:pt x="6748215" y="1584794"/>
                </a:cubicBezTo>
                <a:lnTo>
                  <a:pt x="6747676" y="1591418"/>
                </a:lnTo>
                <a:cubicBezTo>
                  <a:pt x="6747507" y="1591423"/>
                  <a:pt x="6747338" y="1591427"/>
                  <a:pt x="6747171" y="1591480"/>
                </a:cubicBezTo>
                <a:cubicBezTo>
                  <a:pt x="6696895" y="1941574"/>
                  <a:pt x="6415856" y="2220146"/>
                  <a:pt x="6057005" y="2279078"/>
                </a:cubicBezTo>
                <a:lnTo>
                  <a:pt x="6056889" y="2280217"/>
                </a:lnTo>
                <a:cubicBezTo>
                  <a:pt x="6051578" y="2281220"/>
                  <a:pt x="6046249" y="2282161"/>
                  <a:pt x="6040672" y="2281745"/>
                </a:cubicBezTo>
                <a:cubicBezTo>
                  <a:pt x="6009500" y="2287255"/>
                  <a:pt x="5977620" y="2290213"/>
                  <a:pt x="5945246" y="2290736"/>
                </a:cubicBezTo>
                <a:lnTo>
                  <a:pt x="5928127" y="2292349"/>
                </a:lnTo>
                <a:lnTo>
                  <a:pt x="5928101" y="2291858"/>
                </a:lnTo>
                <a:lnTo>
                  <a:pt x="5927602" y="2291891"/>
                </a:lnTo>
                <a:cubicBezTo>
                  <a:pt x="5927036" y="2288119"/>
                  <a:pt x="5927009" y="2284333"/>
                  <a:pt x="5927009" y="2280541"/>
                </a:cubicBezTo>
                <a:cubicBezTo>
                  <a:pt x="5927009" y="2274903"/>
                  <a:pt x="5927068" y="2269279"/>
                  <a:pt x="5928380" y="2263693"/>
                </a:cubicBezTo>
                <a:cubicBezTo>
                  <a:pt x="5928338" y="2232611"/>
                  <a:pt x="5930787" y="2201969"/>
                  <a:pt x="5935844" y="2171962"/>
                </a:cubicBezTo>
                <a:lnTo>
                  <a:pt x="5936384" y="2165325"/>
                </a:lnTo>
                <a:cubicBezTo>
                  <a:pt x="5936553" y="2165320"/>
                  <a:pt x="5936722" y="2165315"/>
                  <a:pt x="5936890" y="2165262"/>
                </a:cubicBezTo>
                <a:cubicBezTo>
                  <a:pt x="5987166" y="1815167"/>
                  <a:pt x="6268205" y="1536596"/>
                  <a:pt x="6627056" y="1477664"/>
                </a:cubicBezTo>
                <a:lnTo>
                  <a:pt x="6627173" y="1476525"/>
                </a:lnTo>
                <a:cubicBezTo>
                  <a:pt x="6632481" y="1475523"/>
                  <a:pt x="6637809" y="1474582"/>
                  <a:pt x="6643385" y="1474998"/>
                </a:cubicBezTo>
                <a:cubicBezTo>
                  <a:pt x="6674569" y="1469485"/>
                  <a:pt x="6706461" y="1466527"/>
                  <a:pt x="6738847" y="1466004"/>
                </a:cubicBezTo>
                <a:close/>
                <a:moveTo>
                  <a:pt x="5077571" y="1464394"/>
                </a:moveTo>
                <a:lnTo>
                  <a:pt x="5094659" y="1466004"/>
                </a:lnTo>
                <a:cubicBezTo>
                  <a:pt x="5127044" y="1466527"/>
                  <a:pt x="5158937" y="1469485"/>
                  <a:pt x="5190120" y="1474998"/>
                </a:cubicBezTo>
                <a:cubicBezTo>
                  <a:pt x="5195696" y="1474582"/>
                  <a:pt x="5201024" y="1475523"/>
                  <a:pt x="5206334" y="1476525"/>
                </a:cubicBezTo>
                <a:lnTo>
                  <a:pt x="5206450" y="1477664"/>
                </a:lnTo>
                <a:cubicBezTo>
                  <a:pt x="5565300" y="1536596"/>
                  <a:pt x="5846339" y="1815167"/>
                  <a:pt x="5896616" y="2165262"/>
                </a:cubicBezTo>
                <a:cubicBezTo>
                  <a:pt x="5896783" y="2165315"/>
                  <a:pt x="5896953" y="2165320"/>
                  <a:pt x="5897121" y="2165325"/>
                </a:cubicBezTo>
                <a:lnTo>
                  <a:pt x="5897662" y="2171962"/>
                </a:lnTo>
                <a:cubicBezTo>
                  <a:pt x="5902718" y="2201969"/>
                  <a:pt x="5905168" y="2232611"/>
                  <a:pt x="5905126" y="2263693"/>
                </a:cubicBezTo>
                <a:cubicBezTo>
                  <a:pt x="5906438" y="2269279"/>
                  <a:pt x="5906496" y="2274903"/>
                  <a:pt x="5906496" y="2280541"/>
                </a:cubicBezTo>
                <a:cubicBezTo>
                  <a:pt x="5906496" y="2284333"/>
                  <a:pt x="5906469" y="2288119"/>
                  <a:pt x="5905903" y="2291891"/>
                </a:cubicBezTo>
                <a:lnTo>
                  <a:pt x="5905404" y="2291858"/>
                </a:lnTo>
                <a:lnTo>
                  <a:pt x="5905378" y="2292349"/>
                </a:lnTo>
                <a:lnTo>
                  <a:pt x="5888260" y="2290736"/>
                </a:lnTo>
                <a:cubicBezTo>
                  <a:pt x="5855886" y="2290213"/>
                  <a:pt x="5824005" y="2287255"/>
                  <a:pt x="5792833" y="2281745"/>
                </a:cubicBezTo>
                <a:cubicBezTo>
                  <a:pt x="5787256" y="2282161"/>
                  <a:pt x="5781927" y="2281220"/>
                  <a:pt x="5776617" y="2280217"/>
                </a:cubicBezTo>
                <a:lnTo>
                  <a:pt x="5776501" y="2279078"/>
                </a:lnTo>
                <a:cubicBezTo>
                  <a:pt x="5417649" y="2220146"/>
                  <a:pt x="5136610" y="1941574"/>
                  <a:pt x="5086335" y="1591480"/>
                </a:cubicBezTo>
                <a:cubicBezTo>
                  <a:pt x="5086167" y="1591427"/>
                  <a:pt x="5085999" y="1591423"/>
                  <a:pt x="5085830" y="1591418"/>
                </a:cubicBezTo>
                <a:lnTo>
                  <a:pt x="5085291" y="1584794"/>
                </a:lnTo>
                <a:cubicBezTo>
                  <a:pt x="5080233" y="1554782"/>
                  <a:pt x="5077782" y="1524133"/>
                  <a:pt x="5077824" y="1493044"/>
                </a:cubicBezTo>
                <a:cubicBezTo>
                  <a:pt x="5076512" y="1487460"/>
                  <a:pt x="5076453" y="1481838"/>
                  <a:pt x="5076453" y="1476202"/>
                </a:cubicBezTo>
                <a:lnTo>
                  <a:pt x="5077047" y="1464852"/>
                </a:lnTo>
                <a:lnTo>
                  <a:pt x="5077545" y="1464884"/>
                </a:lnTo>
                <a:close/>
                <a:moveTo>
                  <a:pt x="5063783" y="1464394"/>
                </a:moveTo>
                <a:lnTo>
                  <a:pt x="5063809" y="1464884"/>
                </a:lnTo>
                <a:lnTo>
                  <a:pt x="5064307" y="1464852"/>
                </a:lnTo>
                <a:lnTo>
                  <a:pt x="5064902" y="1476202"/>
                </a:lnTo>
                <a:cubicBezTo>
                  <a:pt x="5064902" y="1481838"/>
                  <a:pt x="5064842" y="1487460"/>
                  <a:pt x="5063530" y="1493044"/>
                </a:cubicBezTo>
                <a:cubicBezTo>
                  <a:pt x="5063572" y="1524133"/>
                  <a:pt x="5061122" y="1554782"/>
                  <a:pt x="5056063" y="1584794"/>
                </a:cubicBezTo>
                <a:lnTo>
                  <a:pt x="5055525" y="1591418"/>
                </a:lnTo>
                <a:cubicBezTo>
                  <a:pt x="5055355" y="1591423"/>
                  <a:pt x="5055187" y="1591427"/>
                  <a:pt x="5055019" y="1591480"/>
                </a:cubicBezTo>
                <a:cubicBezTo>
                  <a:pt x="5004744" y="1941574"/>
                  <a:pt x="4723705" y="2220146"/>
                  <a:pt x="4364853" y="2279078"/>
                </a:cubicBezTo>
                <a:lnTo>
                  <a:pt x="4364737" y="2280217"/>
                </a:lnTo>
                <a:cubicBezTo>
                  <a:pt x="4359427" y="2281220"/>
                  <a:pt x="4354098" y="2282161"/>
                  <a:pt x="4348521" y="2281745"/>
                </a:cubicBezTo>
                <a:cubicBezTo>
                  <a:pt x="4317350" y="2287255"/>
                  <a:pt x="4285468" y="2290213"/>
                  <a:pt x="4253094" y="2290736"/>
                </a:cubicBezTo>
                <a:lnTo>
                  <a:pt x="4235976" y="2292349"/>
                </a:lnTo>
                <a:lnTo>
                  <a:pt x="4235950" y="2291858"/>
                </a:lnTo>
                <a:lnTo>
                  <a:pt x="4235451" y="2291891"/>
                </a:lnTo>
                <a:cubicBezTo>
                  <a:pt x="4234885" y="2288119"/>
                  <a:pt x="4234858" y="2284333"/>
                  <a:pt x="4234858" y="2280541"/>
                </a:cubicBezTo>
                <a:cubicBezTo>
                  <a:pt x="4234858" y="2274903"/>
                  <a:pt x="4234916" y="2269279"/>
                  <a:pt x="4236228" y="2263693"/>
                </a:cubicBezTo>
                <a:cubicBezTo>
                  <a:pt x="4236186" y="2232611"/>
                  <a:pt x="4238636" y="2201969"/>
                  <a:pt x="4243692" y="2171962"/>
                </a:cubicBezTo>
                <a:lnTo>
                  <a:pt x="4244233" y="2165325"/>
                </a:lnTo>
                <a:cubicBezTo>
                  <a:pt x="4244401" y="2165320"/>
                  <a:pt x="4244571" y="2165315"/>
                  <a:pt x="4244738" y="2165262"/>
                </a:cubicBezTo>
                <a:cubicBezTo>
                  <a:pt x="4295015" y="1815167"/>
                  <a:pt x="4576054" y="1536596"/>
                  <a:pt x="4934904" y="1477664"/>
                </a:cubicBezTo>
                <a:lnTo>
                  <a:pt x="4935021" y="1476525"/>
                </a:lnTo>
                <a:cubicBezTo>
                  <a:pt x="4940330" y="1475523"/>
                  <a:pt x="4945658" y="1474582"/>
                  <a:pt x="4951234" y="1474998"/>
                </a:cubicBezTo>
                <a:cubicBezTo>
                  <a:pt x="4982417" y="1469485"/>
                  <a:pt x="5014310" y="1466527"/>
                  <a:pt x="5046695" y="1466004"/>
                </a:cubicBezTo>
                <a:close/>
                <a:moveTo>
                  <a:pt x="3385420" y="1464394"/>
                </a:moveTo>
                <a:lnTo>
                  <a:pt x="3402507" y="1466004"/>
                </a:lnTo>
                <a:cubicBezTo>
                  <a:pt x="3434893" y="1466527"/>
                  <a:pt x="3466785" y="1469485"/>
                  <a:pt x="3497969" y="1474998"/>
                </a:cubicBezTo>
                <a:cubicBezTo>
                  <a:pt x="3503545" y="1474582"/>
                  <a:pt x="3508873" y="1475523"/>
                  <a:pt x="3514181" y="1476525"/>
                </a:cubicBezTo>
                <a:lnTo>
                  <a:pt x="3514298" y="1477664"/>
                </a:lnTo>
                <a:cubicBezTo>
                  <a:pt x="3873149" y="1536596"/>
                  <a:pt x="4154188" y="1815167"/>
                  <a:pt x="4204464" y="2165262"/>
                </a:cubicBezTo>
                <a:cubicBezTo>
                  <a:pt x="4204632" y="2165315"/>
                  <a:pt x="4204801" y="2165320"/>
                  <a:pt x="4204970" y="2165325"/>
                </a:cubicBezTo>
                <a:lnTo>
                  <a:pt x="4205510" y="2171962"/>
                </a:lnTo>
                <a:cubicBezTo>
                  <a:pt x="4210567" y="2201969"/>
                  <a:pt x="4213016" y="2232611"/>
                  <a:pt x="4212974" y="2263693"/>
                </a:cubicBezTo>
                <a:cubicBezTo>
                  <a:pt x="4214286" y="2269279"/>
                  <a:pt x="4214345" y="2274903"/>
                  <a:pt x="4214345" y="2280541"/>
                </a:cubicBezTo>
                <a:cubicBezTo>
                  <a:pt x="4214345" y="2284333"/>
                  <a:pt x="4214318" y="2288119"/>
                  <a:pt x="4213752" y="2291891"/>
                </a:cubicBezTo>
                <a:lnTo>
                  <a:pt x="4213253" y="2291858"/>
                </a:lnTo>
                <a:lnTo>
                  <a:pt x="4213227" y="2292349"/>
                </a:lnTo>
                <a:lnTo>
                  <a:pt x="4196108" y="2290736"/>
                </a:lnTo>
                <a:cubicBezTo>
                  <a:pt x="4163734" y="2290213"/>
                  <a:pt x="4131854" y="2287255"/>
                  <a:pt x="4100682" y="2281745"/>
                </a:cubicBezTo>
                <a:cubicBezTo>
                  <a:pt x="4095105" y="2282161"/>
                  <a:pt x="4089776" y="2281220"/>
                  <a:pt x="4084465" y="2280217"/>
                </a:cubicBezTo>
                <a:lnTo>
                  <a:pt x="4084349" y="2279078"/>
                </a:lnTo>
                <a:cubicBezTo>
                  <a:pt x="3725498" y="2220146"/>
                  <a:pt x="3444459" y="1941574"/>
                  <a:pt x="3394183" y="1591480"/>
                </a:cubicBezTo>
                <a:cubicBezTo>
                  <a:pt x="3394016" y="1591427"/>
                  <a:pt x="3393847" y="1591423"/>
                  <a:pt x="3393678" y="1591418"/>
                </a:cubicBezTo>
                <a:lnTo>
                  <a:pt x="3393139" y="1584794"/>
                </a:lnTo>
                <a:cubicBezTo>
                  <a:pt x="3388081" y="1554782"/>
                  <a:pt x="3385630" y="1524133"/>
                  <a:pt x="3385672" y="1493044"/>
                </a:cubicBezTo>
                <a:cubicBezTo>
                  <a:pt x="3384360" y="1487460"/>
                  <a:pt x="3384302" y="1481838"/>
                  <a:pt x="3384302" y="1476202"/>
                </a:cubicBezTo>
                <a:lnTo>
                  <a:pt x="3384896" y="1464852"/>
                </a:lnTo>
                <a:lnTo>
                  <a:pt x="3385394" y="1464884"/>
                </a:lnTo>
                <a:close/>
                <a:moveTo>
                  <a:pt x="3371632" y="1464394"/>
                </a:moveTo>
                <a:lnTo>
                  <a:pt x="3371658" y="1464884"/>
                </a:lnTo>
                <a:lnTo>
                  <a:pt x="3372156" y="1464852"/>
                </a:lnTo>
                <a:lnTo>
                  <a:pt x="3372750" y="1476202"/>
                </a:lnTo>
                <a:cubicBezTo>
                  <a:pt x="3372750" y="1481838"/>
                  <a:pt x="3372691" y="1487460"/>
                  <a:pt x="3371379" y="1493044"/>
                </a:cubicBezTo>
                <a:cubicBezTo>
                  <a:pt x="3371421" y="1524133"/>
                  <a:pt x="3368971" y="1554782"/>
                  <a:pt x="3363912" y="1584794"/>
                </a:cubicBezTo>
                <a:lnTo>
                  <a:pt x="3363374" y="1591418"/>
                </a:lnTo>
                <a:cubicBezTo>
                  <a:pt x="3363204" y="1591423"/>
                  <a:pt x="3363036" y="1591427"/>
                  <a:pt x="3362868" y="1591480"/>
                </a:cubicBezTo>
                <a:cubicBezTo>
                  <a:pt x="3312593" y="1941574"/>
                  <a:pt x="3031554" y="2220146"/>
                  <a:pt x="2672703" y="2279078"/>
                </a:cubicBezTo>
                <a:lnTo>
                  <a:pt x="2672586" y="2280217"/>
                </a:lnTo>
                <a:cubicBezTo>
                  <a:pt x="2667276" y="2281220"/>
                  <a:pt x="2661947" y="2282161"/>
                  <a:pt x="2656370" y="2281745"/>
                </a:cubicBezTo>
                <a:cubicBezTo>
                  <a:pt x="2625198" y="2287255"/>
                  <a:pt x="2593318" y="2290213"/>
                  <a:pt x="2560943" y="2290736"/>
                </a:cubicBezTo>
                <a:lnTo>
                  <a:pt x="2543825" y="2292349"/>
                </a:lnTo>
                <a:lnTo>
                  <a:pt x="2543799" y="2291858"/>
                </a:lnTo>
                <a:lnTo>
                  <a:pt x="2543300" y="2291891"/>
                </a:lnTo>
                <a:cubicBezTo>
                  <a:pt x="2542734" y="2288119"/>
                  <a:pt x="2542707" y="2284333"/>
                  <a:pt x="2542707" y="2280541"/>
                </a:cubicBezTo>
                <a:cubicBezTo>
                  <a:pt x="2542707" y="2274903"/>
                  <a:pt x="2542765" y="2269279"/>
                  <a:pt x="2544077" y="2263693"/>
                </a:cubicBezTo>
                <a:cubicBezTo>
                  <a:pt x="2544035" y="2232611"/>
                  <a:pt x="2546485" y="2201969"/>
                  <a:pt x="2551541" y="2171962"/>
                </a:cubicBezTo>
                <a:lnTo>
                  <a:pt x="2552082" y="2165325"/>
                </a:lnTo>
                <a:cubicBezTo>
                  <a:pt x="2552250" y="2165320"/>
                  <a:pt x="2552420" y="2165315"/>
                  <a:pt x="2552587" y="2165262"/>
                </a:cubicBezTo>
                <a:cubicBezTo>
                  <a:pt x="2602864" y="1815167"/>
                  <a:pt x="2883903" y="1536596"/>
                  <a:pt x="3242753" y="1477664"/>
                </a:cubicBezTo>
                <a:lnTo>
                  <a:pt x="3242870" y="1476525"/>
                </a:lnTo>
                <a:cubicBezTo>
                  <a:pt x="3248179" y="1475523"/>
                  <a:pt x="3253507" y="1474582"/>
                  <a:pt x="3259083" y="1474998"/>
                </a:cubicBezTo>
                <a:cubicBezTo>
                  <a:pt x="3290266" y="1469485"/>
                  <a:pt x="3322159" y="1466527"/>
                  <a:pt x="3354544" y="1466004"/>
                </a:cubicBezTo>
                <a:close/>
                <a:moveTo>
                  <a:pt x="1693269" y="1464394"/>
                </a:moveTo>
                <a:lnTo>
                  <a:pt x="1710356" y="1466004"/>
                </a:lnTo>
                <a:cubicBezTo>
                  <a:pt x="1742742" y="1466527"/>
                  <a:pt x="1774634" y="1469485"/>
                  <a:pt x="1805818" y="1474998"/>
                </a:cubicBezTo>
                <a:cubicBezTo>
                  <a:pt x="1811394" y="1474582"/>
                  <a:pt x="1816722" y="1475523"/>
                  <a:pt x="1822030" y="1476525"/>
                </a:cubicBezTo>
                <a:lnTo>
                  <a:pt x="1822148" y="1477664"/>
                </a:lnTo>
                <a:cubicBezTo>
                  <a:pt x="2180998" y="1536596"/>
                  <a:pt x="2462037" y="1815167"/>
                  <a:pt x="2512313" y="2165262"/>
                </a:cubicBezTo>
                <a:cubicBezTo>
                  <a:pt x="2512481" y="2165315"/>
                  <a:pt x="2512650" y="2165320"/>
                  <a:pt x="2512819" y="2165325"/>
                </a:cubicBezTo>
                <a:lnTo>
                  <a:pt x="2513359" y="2171962"/>
                </a:lnTo>
                <a:cubicBezTo>
                  <a:pt x="2518416" y="2201969"/>
                  <a:pt x="2520865" y="2232611"/>
                  <a:pt x="2520823" y="2263693"/>
                </a:cubicBezTo>
                <a:cubicBezTo>
                  <a:pt x="2522135" y="2269279"/>
                  <a:pt x="2522194" y="2274903"/>
                  <a:pt x="2522194" y="2280541"/>
                </a:cubicBezTo>
                <a:cubicBezTo>
                  <a:pt x="2522194" y="2284333"/>
                  <a:pt x="2522167" y="2288119"/>
                  <a:pt x="2521601" y="2291891"/>
                </a:cubicBezTo>
                <a:lnTo>
                  <a:pt x="2521102" y="2291858"/>
                </a:lnTo>
                <a:lnTo>
                  <a:pt x="2521076" y="2292349"/>
                </a:lnTo>
                <a:lnTo>
                  <a:pt x="2503957" y="2290736"/>
                </a:lnTo>
                <a:cubicBezTo>
                  <a:pt x="2471583" y="2290213"/>
                  <a:pt x="2439703" y="2287255"/>
                  <a:pt x="2408531" y="2281745"/>
                </a:cubicBezTo>
                <a:cubicBezTo>
                  <a:pt x="2402954" y="2282161"/>
                  <a:pt x="2397625" y="2281220"/>
                  <a:pt x="2392314" y="2280217"/>
                </a:cubicBezTo>
                <a:lnTo>
                  <a:pt x="2392198" y="2279078"/>
                </a:lnTo>
                <a:cubicBezTo>
                  <a:pt x="2033347" y="2220146"/>
                  <a:pt x="1752308" y="1941574"/>
                  <a:pt x="1702032" y="1591480"/>
                </a:cubicBezTo>
                <a:cubicBezTo>
                  <a:pt x="1701865" y="1591427"/>
                  <a:pt x="1701696" y="1591423"/>
                  <a:pt x="1701527" y="1591418"/>
                </a:cubicBezTo>
                <a:lnTo>
                  <a:pt x="1700989" y="1584794"/>
                </a:lnTo>
                <a:cubicBezTo>
                  <a:pt x="1695930" y="1554782"/>
                  <a:pt x="1693479" y="1524133"/>
                  <a:pt x="1693521" y="1493044"/>
                </a:cubicBezTo>
                <a:cubicBezTo>
                  <a:pt x="1692209" y="1487460"/>
                  <a:pt x="1692151" y="1481838"/>
                  <a:pt x="1692151" y="1476202"/>
                </a:cubicBezTo>
                <a:lnTo>
                  <a:pt x="1692745" y="1464852"/>
                </a:lnTo>
                <a:lnTo>
                  <a:pt x="1693243" y="1464884"/>
                </a:lnTo>
                <a:close/>
                <a:moveTo>
                  <a:pt x="1679481" y="1464394"/>
                </a:moveTo>
                <a:lnTo>
                  <a:pt x="1679507" y="1464884"/>
                </a:lnTo>
                <a:lnTo>
                  <a:pt x="1680005" y="1464852"/>
                </a:lnTo>
                <a:lnTo>
                  <a:pt x="1680599" y="1476202"/>
                </a:lnTo>
                <a:cubicBezTo>
                  <a:pt x="1680599" y="1481838"/>
                  <a:pt x="1680540" y="1487460"/>
                  <a:pt x="1679228" y="1493044"/>
                </a:cubicBezTo>
                <a:cubicBezTo>
                  <a:pt x="1679270" y="1524133"/>
                  <a:pt x="1676820" y="1554782"/>
                  <a:pt x="1671761" y="1584794"/>
                </a:cubicBezTo>
                <a:lnTo>
                  <a:pt x="1671223" y="1591418"/>
                </a:lnTo>
                <a:cubicBezTo>
                  <a:pt x="1671053" y="1591423"/>
                  <a:pt x="1670885" y="1591427"/>
                  <a:pt x="1670717" y="1591480"/>
                </a:cubicBezTo>
                <a:cubicBezTo>
                  <a:pt x="1620442" y="1941574"/>
                  <a:pt x="1339403" y="2220146"/>
                  <a:pt x="980552" y="2279078"/>
                </a:cubicBezTo>
                <a:lnTo>
                  <a:pt x="980435" y="2280217"/>
                </a:lnTo>
                <a:cubicBezTo>
                  <a:pt x="975125" y="2281220"/>
                  <a:pt x="969796" y="2282161"/>
                  <a:pt x="964219" y="2281745"/>
                </a:cubicBezTo>
                <a:cubicBezTo>
                  <a:pt x="933047" y="2287255"/>
                  <a:pt x="901167" y="2290213"/>
                  <a:pt x="868792" y="2290736"/>
                </a:cubicBezTo>
                <a:lnTo>
                  <a:pt x="851674" y="2292349"/>
                </a:lnTo>
                <a:lnTo>
                  <a:pt x="851648" y="2291858"/>
                </a:lnTo>
                <a:lnTo>
                  <a:pt x="851149" y="2291891"/>
                </a:lnTo>
                <a:cubicBezTo>
                  <a:pt x="850583" y="2288119"/>
                  <a:pt x="850556" y="2284333"/>
                  <a:pt x="850556" y="2280541"/>
                </a:cubicBezTo>
                <a:cubicBezTo>
                  <a:pt x="850556" y="2274903"/>
                  <a:pt x="850614" y="2269279"/>
                  <a:pt x="851926" y="2263693"/>
                </a:cubicBezTo>
                <a:cubicBezTo>
                  <a:pt x="851884" y="2232611"/>
                  <a:pt x="854334" y="2201969"/>
                  <a:pt x="859390" y="2171962"/>
                </a:cubicBezTo>
                <a:lnTo>
                  <a:pt x="859931" y="2165325"/>
                </a:lnTo>
                <a:cubicBezTo>
                  <a:pt x="860099" y="2165320"/>
                  <a:pt x="860269" y="2165315"/>
                  <a:pt x="860436" y="2165262"/>
                </a:cubicBezTo>
                <a:cubicBezTo>
                  <a:pt x="910713" y="1815167"/>
                  <a:pt x="1191752" y="1536596"/>
                  <a:pt x="1550602" y="1477664"/>
                </a:cubicBezTo>
                <a:lnTo>
                  <a:pt x="1550719" y="1476525"/>
                </a:lnTo>
                <a:cubicBezTo>
                  <a:pt x="1556028" y="1475523"/>
                  <a:pt x="1561356" y="1474582"/>
                  <a:pt x="1566932" y="1474998"/>
                </a:cubicBezTo>
                <a:cubicBezTo>
                  <a:pt x="1598115" y="1469485"/>
                  <a:pt x="1630008" y="1466527"/>
                  <a:pt x="1662393" y="1466004"/>
                </a:cubicBezTo>
                <a:close/>
                <a:moveTo>
                  <a:pt x="1118" y="1464394"/>
                </a:moveTo>
                <a:lnTo>
                  <a:pt x="18205" y="1466004"/>
                </a:lnTo>
                <a:cubicBezTo>
                  <a:pt x="50591" y="1466527"/>
                  <a:pt x="82483" y="1469485"/>
                  <a:pt x="113667" y="1474998"/>
                </a:cubicBezTo>
                <a:cubicBezTo>
                  <a:pt x="119243" y="1474582"/>
                  <a:pt x="124571" y="1475523"/>
                  <a:pt x="129879" y="1476525"/>
                </a:cubicBezTo>
                <a:lnTo>
                  <a:pt x="129997" y="1477664"/>
                </a:lnTo>
                <a:cubicBezTo>
                  <a:pt x="488847" y="1536596"/>
                  <a:pt x="769886" y="1815167"/>
                  <a:pt x="820162" y="2165262"/>
                </a:cubicBezTo>
                <a:cubicBezTo>
                  <a:pt x="820330" y="2165315"/>
                  <a:pt x="820499" y="2165320"/>
                  <a:pt x="820668" y="2165325"/>
                </a:cubicBezTo>
                <a:lnTo>
                  <a:pt x="821208" y="2171962"/>
                </a:lnTo>
                <a:cubicBezTo>
                  <a:pt x="826265" y="2201969"/>
                  <a:pt x="828714" y="2232611"/>
                  <a:pt x="828672" y="2263693"/>
                </a:cubicBezTo>
                <a:cubicBezTo>
                  <a:pt x="829984" y="2269279"/>
                  <a:pt x="830043" y="2274903"/>
                  <a:pt x="830043" y="2280541"/>
                </a:cubicBezTo>
                <a:cubicBezTo>
                  <a:pt x="830043" y="2284333"/>
                  <a:pt x="830016" y="2288119"/>
                  <a:pt x="829450" y="2291891"/>
                </a:cubicBezTo>
                <a:lnTo>
                  <a:pt x="828951" y="2291858"/>
                </a:lnTo>
                <a:lnTo>
                  <a:pt x="828925" y="2292349"/>
                </a:lnTo>
                <a:lnTo>
                  <a:pt x="811806" y="2290736"/>
                </a:lnTo>
                <a:cubicBezTo>
                  <a:pt x="779432" y="2290213"/>
                  <a:pt x="747552" y="2287255"/>
                  <a:pt x="716380" y="2281745"/>
                </a:cubicBezTo>
                <a:cubicBezTo>
                  <a:pt x="710803" y="2282161"/>
                  <a:pt x="705474" y="2281220"/>
                  <a:pt x="700163" y="2280217"/>
                </a:cubicBezTo>
                <a:lnTo>
                  <a:pt x="700047" y="2279078"/>
                </a:lnTo>
                <a:cubicBezTo>
                  <a:pt x="341196" y="2220146"/>
                  <a:pt x="60157" y="1941574"/>
                  <a:pt x="9881" y="1591480"/>
                </a:cubicBezTo>
                <a:cubicBezTo>
                  <a:pt x="9714" y="1591427"/>
                  <a:pt x="9545" y="1591423"/>
                  <a:pt x="9376" y="1591418"/>
                </a:cubicBezTo>
                <a:lnTo>
                  <a:pt x="8837" y="1584794"/>
                </a:lnTo>
                <a:cubicBezTo>
                  <a:pt x="3779" y="1554782"/>
                  <a:pt x="1328" y="1524133"/>
                  <a:pt x="1370" y="1493044"/>
                </a:cubicBezTo>
                <a:cubicBezTo>
                  <a:pt x="58" y="1487460"/>
                  <a:pt x="0" y="1481838"/>
                  <a:pt x="0" y="1476202"/>
                </a:cubicBezTo>
                <a:lnTo>
                  <a:pt x="594" y="1464852"/>
                </a:lnTo>
                <a:lnTo>
                  <a:pt x="1092" y="1464884"/>
                </a:lnTo>
                <a:close/>
                <a:moveTo>
                  <a:pt x="7762529" y="750600"/>
                </a:moveTo>
                <a:cubicBezTo>
                  <a:pt x="7815805" y="1021506"/>
                  <a:pt x="8030648" y="1236303"/>
                  <a:pt x="8305838" y="1295446"/>
                </a:cubicBezTo>
                <a:cubicBezTo>
                  <a:pt x="8252563" y="1024540"/>
                  <a:pt x="8037719" y="809743"/>
                  <a:pt x="7762529" y="750600"/>
                </a:cubicBezTo>
                <a:close/>
                <a:moveTo>
                  <a:pt x="7455280" y="750600"/>
                </a:moveTo>
                <a:cubicBezTo>
                  <a:pt x="7180090" y="809743"/>
                  <a:pt x="6965246" y="1024540"/>
                  <a:pt x="6911971" y="1295446"/>
                </a:cubicBezTo>
                <a:cubicBezTo>
                  <a:pt x="7187161" y="1236303"/>
                  <a:pt x="7402004" y="1021506"/>
                  <a:pt x="7455280" y="750600"/>
                </a:cubicBezTo>
                <a:close/>
                <a:moveTo>
                  <a:pt x="6070378" y="750600"/>
                </a:moveTo>
                <a:cubicBezTo>
                  <a:pt x="6123654" y="1021506"/>
                  <a:pt x="6338497" y="1236303"/>
                  <a:pt x="6613687" y="1295446"/>
                </a:cubicBezTo>
                <a:cubicBezTo>
                  <a:pt x="6560412" y="1024540"/>
                  <a:pt x="6345568" y="809743"/>
                  <a:pt x="6070378" y="750600"/>
                </a:cubicBezTo>
                <a:close/>
                <a:moveTo>
                  <a:pt x="5763129" y="750600"/>
                </a:moveTo>
                <a:cubicBezTo>
                  <a:pt x="5487939" y="809743"/>
                  <a:pt x="5273095" y="1024540"/>
                  <a:pt x="5219820" y="1295446"/>
                </a:cubicBezTo>
                <a:cubicBezTo>
                  <a:pt x="5495010" y="1236303"/>
                  <a:pt x="5709853" y="1021506"/>
                  <a:pt x="5763129" y="750600"/>
                </a:cubicBezTo>
                <a:close/>
                <a:moveTo>
                  <a:pt x="4378227" y="750600"/>
                </a:moveTo>
                <a:cubicBezTo>
                  <a:pt x="4431503" y="1021506"/>
                  <a:pt x="4646346" y="1236303"/>
                  <a:pt x="4921536" y="1295446"/>
                </a:cubicBezTo>
                <a:cubicBezTo>
                  <a:pt x="4868261" y="1024540"/>
                  <a:pt x="4653417" y="809743"/>
                  <a:pt x="4378227" y="750600"/>
                </a:cubicBezTo>
                <a:close/>
                <a:moveTo>
                  <a:pt x="4070978" y="750600"/>
                </a:moveTo>
                <a:cubicBezTo>
                  <a:pt x="3795788" y="809743"/>
                  <a:pt x="3580944" y="1024540"/>
                  <a:pt x="3527669" y="1295446"/>
                </a:cubicBezTo>
                <a:cubicBezTo>
                  <a:pt x="3802859" y="1236303"/>
                  <a:pt x="4017702" y="1021506"/>
                  <a:pt x="4070978" y="750600"/>
                </a:cubicBezTo>
                <a:close/>
                <a:moveTo>
                  <a:pt x="2686076" y="750600"/>
                </a:moveTo>
                <a:cubicBezTo>
                  <a:pt x="2739352" y="1021506"/>
                  <a:pt x="2954195" y="1236303"/>
                  <a:pt x="3229385" y="1295446"/>
                </a:cubicBezTo>
                <a:cubicBezTo>
                  <a:pt x="3176110" y="1024540"/>
                  <a:pt x="2961266" y="809743"/>
                  <a:pt x="2686076" y="750600"/>
                </a:cubicBezTo>
                <a:close/>
                <a:moveTo>
                  <a:pt x="2378827" y="750600"/>
                </a:moveTo>
                <a:cubicBezTo>
                  <a:pt x="2103637" y="809743"/>
                  <a:pt x="1888793" y="1024540"/>
                  <a:pt x="1835518" y="1295446"/>
                </a:cubicBezTo>
                <a:cubicBezTo>
                  <a:pt x="2110708" y="1236303"/>
                  <a:pt x="2325551" y="1021506"/>
                  <a:pt x="2378827" y="750600"/>
                </a:cubicBezTo>
                <a:close/>
                <a:moveTo>
                  <a:pt x="993925" y="750600"/>
                </a:moveTo>
                <a:cubicBezTo>
                  <a:pt x="1047201" y="1021506"/>
                  <a:pt x="1262044" y="1236303"/>
                  <a:pt x="1537234" y="1295446"/>
                </a:cubicBezTo>
                <a:cubicBezTo>
                  <a:pt x="1483959" y="1024540"/>
                  <a:pt x="1269115" y="809743"/>
                  <a:pt x="993925" y="750600"/>
                </a:cubicBezTo>
                <a:close/>
                <a:moveTo>
                  <a:pt x="686676" y="750600"/>
                </a:moveTo>
                <a:cubicBezTo>
                  <a:pt x="411486" y="809743"/>
                  <a:pt x="196642" y="1024540"/>
                  <a:pt x="143367" y="1295446"/>
                </a:cubicBezTo>
                <a:cubicBezTo>
                  <a:pt x="418557" y="1236303"/>
                  <a:pt x="633400" y="1021506"/>
                  <a:pt x="686676" y="750600"/>
                </a:cubicBezTo>
                <a:close/>
                <a:moveTo>
                  <a:pt x="9139239" y="624486"/>
                </a:moveTo>
                <a:lnTo>
                  <a:pt x="9139239" y="752995"/>
                </a:lnTo>
                <a:lnTo>
                  <a:pt x="9047261" y="779881"/>
                </a:lnTo>
                <a:cubicBezTo>
                  <a:pt x="8821055" y="864319"/>
                  <a:pt x="8650738" y="1058403"/>
                  <a:pt x="8604122" y="1295446"/>
                </a:cubicBezTo>
                <a:cubicBezTo>
                  <a:pt x="8844913" y="1243696"/>
                  <a:pt x="9039501" y="1072773"/>
                  <a:pt x="9120077" y="849365"/>
                </a:cubicBezTo>
                <a:lnTo>
                  <a:pt x="9139239" y="780178"/>
                </a:lnTo>
                <a:lnTo>
                  <a:pt x="9139239" y="1085737"/>
                </a:lnTo>
                <a:lnTo>
                  <a:pt x="9135069" y="1092549"/>
                </a:lnTo>
                <a:cubicBezTo>
                  <a:pt x="9008919" y="1266178"/>
                  <a:pt x="8815033" y="1389778"/>
                  <a:pt x="8590751" y="1426902"/>
                </a:cubicBezTo>
                <a:lnTo>
                  <a:pt x="8590635" y="1428050"/>
                </a:lnTo>
                <a:cubicBezTo>
                  <a:pt x="8585324" y="1429061"/>
                  <a:pt x="8579995" y="1430009"/>
                  <a:pt x="8574418" y="1429590"/>
                </a:cubicBezTo>
                <a:cubicBezTo>
                  <a:pt x="8543246" y="1435144"/>
                  <a:pt x="8511366" y="1438125"/>
                  <a:pt x="8478991" y="1438652"/>
                </a:cubicBezTo>
                <a:lnTo>
                  <a:pt x="8461873" y="1440278"/>
                </a:lnTo>
                <a:lnTo>
                  <a:pt x="8461847" y="1439783"/>
                </a:lnTo>
                <a:lnTo>
                  <a:pt x="8461348" y="1439816"/>
                </a:lnTo>
                <a:cubicBezTo>
                  <a:pt x="8460782" y="1436014"/>
                  <a:pt x="8460755" y="1432198"/>
                  <a:pt x="8460755" y="1428376"/>
                </a:cubicBezTo>
                <a:cubicBezTo>
                  <a:pt x="8460755" y="1422694"/>
                  <a:pt x="8460814" y="1417025"/>
                  <a:pt x="8462126" y="1411395"/>
                </a:cubicBezTo>
                <a:cubicBezTo>
                  <a:pt x="8462083" y="1380067"/>
                  <a:pt x="8464533" y="1349182"/>
                  <a:pt x="8469590" y="1318938"/>
                </a:cubicBezTo>
                <a:lnTo>
                  <a:pt x="8470130" y="1312248"/>
                </a:lnTo>
                <a:cubicBezTo>
                  <a:pt x="8470299" y="1312243"/>
                  <a:pt x="8470468" y="1312238"/>
                  <a:pt x="8470636" y="1312185"/>
                </a:cubicBezTo>
                <a:cubicBezTo>
                  <a:pt x="8514628" y="1003427"/>
                  <a:pt x="8735297" y="749863"/>
                  <a:pt x="9030178" y="651504"/>
                </a:cubicBezTo>
                <a:close/>
                <a:moveTo>
                  <a:pt x="7620280" y="605769"/>
                </a:moveTo>
                <a:lnTo>
                  <a:pt x="7637367" y="607392"/>
                </a:lnTo>
                <a:cubicBezTo>
                  <a:pt x="7669753" y="607919"/>
                  <a:pt x="7701646" y="610900"/>
                  <a:pt x="7732829" y="616457"/>
                </a:cubicBezTo>
                <a:cubicBezTo>
                  <a:pt x="7738405" y="616038"/>
                  <a:pt x="7743733" y="616986"/>
                  <a:pt x="7749042" y="617996"/>
                </a:cubicBezTo>
                <a:lnTo>
                  <a:pt x="7749159" y="619144"/>
                </a:lnTo>
                <a:cubicBezTo>
                  <a:pt x="8108009" y="678542"/>
                  <a:pt x="8389048" y="959319"/>
                  <a:pt x="8439324" y="1312185"/>
                </a:cubicBezTo>
                <a:cubicBezTo>
                  <a:pt x="8439492" y="1312238"/>
                  <a:pt x="8439661" y="1312243"/>
                  <a:pt x="8439830" y="1312248"/>
                </a:cubicBezTo>
                <a:lnTo>
                  <a:pt x="8440370" y="1318938"/>
                </a:lnTo>
                <a:cubicBezTo>
                  <a:pt x="8445427" y="1349182"/>
                  <a:pt x="8447877" y="1380067"/>
                  <a:pt x="8447834" y="1411395"/>
                </a:cubicBezTo>
                <a:cubicBezTo>
                  <a:pt x="8449146" y="1417025"/>
                  <a:pt x="8449205" y="1422694"/>
                  <a:pt x="8449205" y="1428376"/>
                </a:cubicBezTo>
                <a:cubicBezTo>
                  <a:pt x="8449205" y="1432198"/>
                  <a:pt x="8449178" y="1436014"/>
                  <a:pt x="8448612" y="1439816"/>
                </a:cubicBezTo>
                <a:lnTo>
                  <a:pt x="8448113" y="1439783"/>
                </a:lnTo>
                <a:lnTo>
                  <a:pt x="8448087" y="1440278"/>
                </a:lnTo>
                <a:lnTo>
                  <a:pt x="8430969" y="1438652"/>
                </a:lnTo>
                <a:cubicBezTo>
                  <a:pt x="8398594" y="1438125"/>
                  <a:pt x="8366714" y="1435144"/>
                  <a:pt x="8335542" y="1429590"/>
                </a:cubicBezTo>
                <a:cubicBezTo>
                  <a:pt x="8329965" y="1430009"/>
                  <a:pt x="8324636" y="1429061"/>
                  <a:pt x="8319325" y="1428050"/>
                </a:cubicBezTo>
                <a:lnTo>
                  <a:pt x="8319209" y="1426902"/>
                </a:lnTo>
                <a:cubicBezTo>
                  <a:pt x="7960358" y="1367503"/>
                  <a:pt x="7679319" y="1086726"/>
                  <a:pt x="7629044" y="733861"/>
                </a:cubicBezTo>
                <a:cubicBezTo>
                  <a:pt x="7628876" y="733808"/>
                  <a:pt x="7628708" y="733803"/>
                  <a:pt x="7628538" y="733798"/>
                </a:cubicBezTo>
                <a:lnTo>
                  <a:pt x="7628000" y="727122"/>
                </a:lnTo>
                <a:cubicBezTo>
                  <a:pt x="7622941" y="696872"/>
                  <a:pt x="7620490" y="665981"/>
                  <a:pt x="7620533" y="634646"/>
                </a:cubicBezTo>
                <a:cubicBezTo>
                  <a:pt x="7619221" y="629018"/>
                  <a:pt x="7619162" y="623351"/>
                  <a:pt x="7619162" y="617670"/>
                </a:cubicBezTo>
                <a:lnTo>
                  <a:pt x="7619756" y="606230"/>
                </a:lnTo>
                <a:lnTo>
                  <a:pt x="7620254" y="606263"/>
                </a:lnTo>
                <a:close/>
                <a:moveTo>
                  <a:pt x="7597529" y="605769"/>
                </a:moveTo>
                <a:lnTo>
                  <a:pt x="7597555" y="606263"/>
                </a:lnTo>
                <a:lnTo>
                  <a:pt x="7598053" y="606230"/>
                </a:lnTo>
                <a:lnTo>
                  <a:pt x="7598647" y="617670"/>
                </a:lnTo>
                <a:cubicBezTo>
                  <a:pt x="7598647" y="623351"/>
                  <a:pt x="7598588" y="629018"/>
                  <a:pt x="7597276" y="634646"/>
                </a:cubicBezTo>
                <a:cubicBezTo>
                  <a:pt x="7597319" y="665981"/>
                  <a:pt x="7594868" y="696872"/>
                  <a:pt x="7589809" y="727122"/>
                </a:cubicBezTo>
                <a:lnTo>
                  <a:pt x="7589271" y="733798"/>
                </a:lnTo>
                <a:cubicBezTo>
                  <a:pt x="7589101" y="733803"/>
                  <a:pt x="7588933" y="733808"/>
                  <a:pt x="7588765" y="733861"/>
                </a:cubicBezTo>
                <a:cubicBezTo>
                  <a:pt x="7538490" y="1086726"/>
                  <a:pt x="7257451" y="1367503"/>
                  <a:pt x="6898600" y="1426902"/>
                </a:cubicBezTo>
                <a:lnTo>
                  <a:pt x="6898484" y="1428050"/>
                </a:lnTo>
                <a:cubicBezTo>
                  <a:pt x="6893173" y="1429061"/>
                  <a:pt x="6887844" y="1430009"/>
                  <a:pt x="6882267" y="1429590"/>
                </a:cubicBezTo>
                <a:cubicBezTo>
                  <a:pt x="6851095" y="1435144"/>
                  <a:pt x="6819215" y="1438125"/>
                  <a:pt x="6786841" y="1438652"/>
                </a:cubicBezTo>
                <a:lnTo>
                  <a:pt x="6769722" y="1440278"/>
                </a:lnTo>
                <a:lnTo>
                  <a:pt x="6769696" y="1439783"/>
                </a:lnTo>
                <a:lnTo>
                  <a:pt x="6769197" y="1439816"/>
                </a:lnTo>
                <a:cubicBezTo>
                  <a:pt x="6768631" y="1436014"/>
                  <a:pt x="6768604" y="1432198"/>
                  <a:pt x="6768604" y="1428376"/>
                </a:cubicBezTo>
                <a:cubicBezTo>
                  <a:pt x="6768604" y="1422694"/>
                  <a:pt x="6768663" y="1417025"/>
                  <a:pt x="6769975" y="1411395"/>
                </a:cubicBezTo>
                <a:cubicBezTo>
                  <a:pt x="6769933" y="1380067"/>
                  <a:pt x="6772382" y="1349182"/>
                  <a:pt x="6777439" y="1318938"/>
                </a:cubicBezTo>
                <a:lnTo>
                  <a:pt x="6777979" y="1312248"/>
                </a:lnTo>
                <a:cubicBezTo>
                  <a:pt x="6778148" y="1312243"/>
                  <a:pt x="6778317" y="1312238"/>
                  <a:pt x="6778485" y="1312185"/>
                </a:cubicBezTo>
                <a:cubicBezTo>
                  <a:pt x="6828761" y="959319"/>
                  <a:pt x="7109800" y="678542"/>
                  <a:pt x="7468650" y="619144"/>
                </a:cubicBezTo>
                <a:lnTo>
                  <a:pt x="7468767" y="617996"/>
                </a:lnTo>
                <a:cubicBezTo>
                  <a:pt x="7474076" y="616986"/>
                  <a:pt x="7479404" y="616038"/>
                  <a:pt x="7484980" y="616457"/>
                </a:cubicBezTo>
                <a:cubicBezTo>
                  <a:pt x="7516163" y="610900"/>
                  <a:pt x="7548056" y="607919"/>
                  <a:pt x="7580442" y="607392"/>
                </a:cubicBezTo>
                <a:close/>
                <a:moveTo>
                  <a:pt x="5928129" y="605769"/>
                </a:moveTo>
                <a:lnTo>
                  <a:pt x="5945217" y="607392"/>
                </a:lnTo>
                <a:cubicBezTo>
                  <a:pt x="5977602" y="607919"/>
                  <a:pt x="6009495" y="610900"/>
                  <a:pt x="6040678" y="616457"/>
                </a:cubicBezTo>
                <a:cubicBezTo>
                  <a:pt x="6046254" y="616038"/>
                  <a:pt x="6051582" y="616986"/>
                  <a:pt x="6056891" y="617996"/>
                </a:cubicBezTo>
                <a:lnTo>
                  <a:pt x="6057008" y="619144"/>
                </a:lnTo>
                <a:cubicBezTo>
                  <a:pt x="6415858" y="678542"/>
                  <a:pt x="6696897" y="959319"/>
                  <a:pt x="6747174" y="1312185"/>
                </a:cubicBezTo>
                <a:cubicBezTo>
                  <a:pt x="6747341" y="1312238"/>
                  <a:pt x="6747511" y="1312243"/>
                  <a:pt x="6747679" y="1312248"/>
                </a:cubicBezTo>
                <a:lnTo>
                  <a:pt x="6748220" y="1318938"/>
                </a:lnTo>
                <a:cubicBezTo>
                  <a:pt x="6753276" y="1349182"/>
                  <a:pt x="6755726" y="1380067"/>
                  <a:pt x="6755684" y="1411395"/>
                </a:cubicBezTo>
                <a:cubicBezTo>
                  <a:pt x="6756996" y="1417025"/>
                  <a:pt x="6757054" y="1422694"/>
                  <a:pt x="6757054" y="1428376"/>
                </a:cubicBezTo>
                <a:cubicBezTo>
                  <a:pt x="6757054" y="1432198"/>
                  <a:pt x="6757027" y="1436014"/>
                  <a:pt x="6756461" y="1439816"/>
                </a:cubicBezTo>
                <a:lnTo>
                  <a:pt x="6755962" y="1439783"/>
                </a:lnTo>
                <a:lnTo>
                  <a:pt x="6755936" y="1440278"/>
                </a:lnTo>
                <a:lnTo>
                  <a:pt x="6738818" y="1438652"/>
                </a:lnTo>
                <a:cubicBezTo>
                  <a:pt x="6706444" y="1438125"/>
                  <a:pt x="6674563" y="1435144"/>
                  <a:pt x="6643391" y="1429590"/>
                </a:cubicBezTo>
                <a:cubicBezTo>
                  <a:pt x="6637814" y="1430009"/>
                  <a:pt x="6632485" y="1429061"/>
                  <a:pt x="6627175" y="1428050"/>
                </a:cubicBezTo>
                <a:lnTo>
                  <a:pt x="6627059" y="1426902"/>
                </a:lnTo>
                <a:cubicBezTo>
                  <a:pt x="6268207" y="1367503"/>
                  <a:pt x="5987168" y="1086726"/>
                  <a:pt x="5936893" y="733861"/>
                </a:cubicBezTo>
                <a:cubicBezTo>
                  <a:pt x="5936725" y="733808"/>
                  <a:pt x="5936557" y="733803"/>
                  <a:pt x="5936387" y="733798"/>
                </a:cubicBezTo>
                <a:lnTo>
                  <a:pt x="5935849" y="727122"/>
                </a:lnTo>
                <a:cubicBezTo>
                  <a:pt x="5930790" y="696872"/>
                  <a:pt x="5928340" y="665981"/>
                  <a:pt x="5928382" y="634646"/>
                </a:cubicBezTo>
                <a:cubicBezTo>
                  <a:pt x="5927070" y="629018"/>
                  <a:pt x="5927011" y="623351"/>
                  <a:pt x="5927011" y="617670"/>
                </a:cubicBezTo>
                <a:lnTo>
                  <a:pt x="5927605" y="606230"/>
                </a:lnTo>
                <a:lnTo>
                  <a:pt x="5928103" y="606263"/>
                </a:lnTo>
                <a:close/>
                <a:moveTo>
                  <a:pt x="5905378" y="605769"/>
                </a:moveTo>
                <a:lnTo>
                  <a:pt x="5905404" y="606263"/>
                </a:lnTo>
                <a:lnTo>
                  <a:pt x="5905902" y="606230"/>
                </a:lnTo>
                <a:lnTo>
                  <a:pt x="5906496" y="617670"/>
                </a:lnTo>
                <a:cubicBezTo>
                  <a:pt x="5906496" y="623351"/>
                  <a:pt x="5906438" y="629018"/>
                  <a:pt x="5905126" y="634646"/>
                </a:cubicBezTo>
                <a:cubicBezTo>
                  <a:pt x="5905168" y="665981"/>
                  <a:pt x="5902717" y="696872"/>
                  <a:pt x="5897659" y="727122"/>
                </a:cubicBezTo>
                <a:lnTo>
                  <a:pt x="5897120" y="733798"/>
                </a:lnTo>
                <a:cubicBezTo>
                  <a:pt x="5896951" y="733803"/>
                  <a:pt x="5896782" y="733808"/>
                  <a:pt x="5896615" y="733861"/>
                </a:cubicBezTo>
                <a:cubicBezTo>
                  <a:pt x="5846339" y="1086726"/>
                  <a:pt x="5565300" y="1367503"/>
                  <a:pt x="5206449" y="1426902"/>
                </a:cubicBezTo>
                <a:lnTo>
                  <a:pt x="5206334" y="1428050"/>
                </a:lnTo>
                <a:cubicBezTo>
                  <a:pt x="5201022" y="1429061"/>
                  <a:pt x="5195693" y="1430009"/>
                  <a:pt x="5190116" y="1429590"/>
                </a:cubicBezTo>
                <a:cubicBezTo>
                  <a:pt x="5158944" y="1435144"/>
                  <a:pt x="5127065" y="1438125"/>
                  <a:pt x="5094690" y="1438652"/>
                </a:cubicBezTo>
                <a:lnTo>
                  <a:pt x="5077571" y="1440278"/>
                </a:lnTo>
                <a:lnTo>
                  <a:pt x="5077545" y="1439783"/>
                </a:lnTo>
                <a:lnTo>
                  <a:pt x="5077046" y="1439816"/>
                </a:lnTo>
                <a:cubicBezTo>
                  <a:pt x="5076480" y="1436014"/>
                  <a:pt x="5076453" y="1432198"/>
                  <a:pt x="5076453" y="1428376"/>
                </a:cubicBezTo>
                <a:cubicBezTo>
                  <a:pt x="5076453" y="1422694"/>
                  <a:pt x="5076512" y="1417025"/>
                  <a:pt x="5077824" y="1411395"/>
                </a:cubicBezTo>
                <a:cubicBezTo>
                  <a:pt x="5077782" y="1380067"/>
                  <a:pt x="5080231" y="1349182"/>
                  <a:pt x="5085288" y="1318938"/>
                </a:cubicBezTo>
                <a:lnTo>
                  <a:pt x="5085828" y="1312248"/>
                </a:lnTo>
                <a:cubicBezTo>
                  <a:pt x="5085997" y="1312243"/>
                  <a:pt x="5086166" y="1312238"/>
                  <a:pt x="5086334" y="1312185"/>
                </a:cubicBezTo>
                <a:cubicBezTo>
                  <a:pt x="5136610" y="959319"/>
                  <a:pt x="5417649" y="678542"/>
                  <a:pt x="5776501" y="619144"/>
                </a:cubicBezTo>
                <a:lnTo>
                  <a:pt x="5776617" y="617996"/>
                </a:lnTo>
                <a:cubicBezTo>
                  <a:pt x="5781926" y="616986"/>
                  <a:pt x="5787253" y="616038"/>
                  <a:pt x="5792829" y="616457"/>
                </a:cubicBezTo>
                <a:cubicBezTo>
                  <a:pt x="5824013" y="610900"/>
                  <a:pt x="5855905" y="607919"/>
                  <a:pt x="5888291" y="607392"/>
                </a:cubicBezTo>
                <a:close/>
                <a:moveTo>
                  <a:pt x="4235979" y="605769"/>
                </a:moveTo>
                <a:lnTo>
                  <a:pt x="4253065" y="607392"/>
                </a:lnTo>
                <a:cubicBezTo>
                  <a:pt x="4285451" y="607919"/>
                  <a:pt x="4317343" y="610900"/>
                  <a:pt x="4348528" y="616457"/>
                </a:cubicBezTo>
                <a:cubicBezTo>
                  <a:pt x="4354104" y="616038"/>
                  <a:pt x="4359431" y="616986"/>
                  <a:pt x="4364739" y="617996"/>
                </a:cubicBezTo>
                <a:lnTo>
                  <a:pt x="4364856" y="619144"/>
                </a:lnTo>
                <a:cubicBezTo>
                  <a:pt x="4723707" y="678542"/>
                  <a:pt x="5004746" y="959319"/>
                  <a:pt x="5055022" y="1312185"/>
                </a:cubicBezTo>
                <a:cubicBezTo>
                  <a:pt x="5055190" y="1312238"/>
                  <a:pt x="5055359" y="1312243"/>
                  <a:pt x="5055528" y="1312248"/>
                </a:cubicBezTo>
                <a:lnTo>
                  <a:pt x="5056068" y="1318938"/>
                </a:lnTo>
                <a:cubicBezTo>
                  <a:pt x="5061125" y="1349182"/>
                  <a:pt x="5063574" y="1380067"/>
                  <a:pt x="5063532" y="1411395"/>
                </a:cubicBezTo>
                <a:cubicBezTo>
                  <a:pt x="5064844" y="1417025"/>
                  <a:pt x="5064903" y="1422694"/>
                  <a:pt x="5064903" y="1428376"/>
                </a:cubicBezTo>
                <a:cubicBezTo>
                  <a:pt x="5064903" y="1432198"/>
                  <a:pt x="5064876" y="1436014"/>
                  <a:pt x="5064310" y="1439816"/>
                </a:cubicBezTo>
                <a:lnTo>
                  <a:pt x="5063811" y="1439783"/>
                </a:lnTo>
                <a:lnTo>
                  <a:pt x="5063785" y="1440278"/>
                </a:lnTo>
                <a:lnTo>
                  <a:pt x="5046666" y="1438652"/>
                </a:lnTo>
                <a:cubicBezTo>
                  <a:pt x="5014292" y="1438125"/>
                  <a:pt x="4982412" y="1435144"/>
                  <a:pt x="4951241" y="1429590"/>
                </a:cubicBezTo>
                <a:cubicBezTo>
                  <a:pt x="4945663" y="1430009"/>
                  <a:pt x="4940334" y="1429061"/>
                  <a:pt x="4935023" y="1428050"/>
                </a:cubicBezTo>
                <a:lnTo>
                  <a:pt x="4934907" y="1426902"/>
                </a:lnTo>
                <a:cubicBezTo>
                  <a:pt x="4576056" y="1367503"/>
                  <a:pt x="4295017" y="1086726"/>
                  <a:pt x="4244741" y="733861"/>
                </a:cubicBezTo>
                <a:cubicBezTo>
                  <a:pt x="4244574" y="733808"/>
                  <a:pt x="4244405" y="733803"/>
                  <a:pt x="4244236" y="733798"/>
                </a:cubicBezTo>
                <a:lnTo>
                  <a:pt x="4243697" y="727122"/>
                </a:lnTo>
                <a:cubicBezTo>
                  <a:pt x="4238639" y="696872"/>
                  <a:pt x="4236188" y="665981"/>
                  <a:pt x="4236230" y="634646"/>
                </a:cubicBezTo>
                <a:cubicBezTo>
                  <a:pt x="4234918" y="629018"/>
                  <a:pt x="4234860" y="623351"/>
                  <a:pt x="4234860" y="617670"/>
                </a:cubicBezTo>
                <a:lnTo>
                  <a:pt x="4235454" y="606230"/>
                </a:lnTo>
                <a:lnTo>
                  <a:pt x="4235952" y="606263"/>
                </a:lnTo>
                <a:close/>
                <a:moveTo>
                  <a:pt x="4213227" y="605769"/>
                </a:moveTo>
                <a:lnTo>
                  <a:pt x="4213253" y="606263"/>
                </a:lnTo>
                <a:lnTo>
                  <a:pt x="4213751" y="606230"/>
                </a:lnTo>
                <a:lnTo>
                  <a:pt x="4214345" y="617670"/>
                </a:lnTo>
                <a:cubicBezTo>
                  <a:pt x="4214345" y="623351"/>
                  <a:pt x="4214286" y="629018"/>
                  <a:pt x="4212974" y="634646"/>
                </a:cubicBezTo>
                <a:cubicBezTo>
                  <a:pt x="4213016" y="665981"/>
                  <a:pt x="4210566" y="696872"/>
                  <a:pt x="4205507" y="727122"/>
                </a:cubicBezTo>
                <a:lnTo>
                  <a:pt x="4204969" y="733798"/>
                </a:lnTo>
                <a:cubicBezTo>
                  <a:pt x="4204799" y="733803"/>
                  <a:pt x="4204631" y="733808"/>
                  <a:pt x="4204463" y="733861"/>
                </a:cubicBezTo>
                <a:cubicBezTo>
                  <a:pt x="4154188" y="1086726"/>
                  <a:pt x="3873149" y="1367503"/>
                  <a:pt x="3514297" y="1426902"/>
                </a:cubicBezTo>
                <a:lnTo>
                  <a:pt x="3514181" y="1428050"/>
                </a:lnTo>
                <a:cubicBezTo>
                  <a:pt x="3508871" y="1429061"/>
                  <a:pt x="3503542" y="1430009"/>
                  <a:pt x="3497965" y="1429590"/>
                </a:cubicBezTo>
                <a:cubicBezTo>
                  <a:pt x="3466793" y="1435144"/>
                  <a:pt x="3434912" y="1438125"/>
                  <a:pt x="3402538" y="1438652"/>
                </a:cubicBezTo>
                <a:lnTo>
                  <a:pt x="3385420" y="1440278"/>
                </a:lnTo>
                <a:lnTo>
                  <a:pt x="3385394" y="1439783"/>
                </a:lnTo>
                <a:lnTo>
                  <a:pt x="3384895" y="1439816"/>
                </a:lnTo>
                <a:cubicBezTo>
                  <a:pt x="3384329" y="1436014"/>
                  <a:pt x="3384302" y="1432198"/>
                  <a:pt x="3384302" y="1428376"/>
                </a:cubicBezTo>
                <a:cubicBezTo>
                  <a:pt x="3384302" y="1422694"/>
                  <a:pt x="3384360" y="1417025"/>
                  <a:pt x="3385672" y="1411395"/>
                </a:cubicBezTo>
                <a:cubicBezTo>
                  <a:pt x="3385630" y="1380067"/>
                  <a:pt x="3388080" y="1349182"/>
                  <a:pt x="3393136" y="1318938"/>
                </a:cubicBezTo>
                <a:lnTo>
                  <a:pt x="3393677" y="1312248"/>
                </a:lnTo>
                <a:cubicBezTo>
                  <a:pt x="3393845" y="1312243"/>
                  <a:pt x="3394015" y="1312238"/>
                  <a:pt x="3394182" y="1312185"/>
                </a:cubicBezTo>
                <a:cubicBezTo>
                  <a:pt x="3444459" y="959319"/>
                  <a:pt x="3725498" y="678542"/>
                  <a:pt x="4084348" y="619144"/>
                </a:cubicBezTo>
                <a:lnTo>
                  <a:pt x="4084465" y="617996"/>
                </a:lnTo>
                <a:cubicBezTo>
                  <a:pt x="4089774" y="616986"/>
                  <a:pt x="4095102" y="616038"/>
                  <a:pt x="4100678" y="616457"/>
                </a:cubicBezTo>
                <a:cubicBezTo>
                  <a:pt x="4131861" y="610900"/>
                  <a:pt x="4163754" y="607919"/>
                  <a:pt x="4196139" y="607392"/>
                </a:cubicBezTo>
                <a:close/>
                <a:moveTo>
                  <a:pt x="2543827" y="605769"/>
                </a:moveTo>
                <a:lnTo>
                  <a:pt x="2560914" y="607392"/>
                </a:lnTo>
                <a:cubicBezTo>
                  <a:pt x="2593300" y="607919"/>
                  <a:pt x="2625192" y="610900"/>
                  <a:pt x="2656376" y="616457"/>
                </a:cubicBezTo>
                <a:cubicBezTo>
                  <a:pt x="2661952" y="616038"/>
                  <a:pt x="2667280" y="616986"/>
                  <a:pt x="2672588" y="617996"/>
                </a:cubicBezTo>
                <a:lnTo>
                  <a:pt x="2672706" y="619144"/>
                </a:lnTo>
                <a:cubicBezTo>
                  <a:pt x="3031556" y="678542"/>
                  <a:pt x="3312595" y="959319"/>
                  <a:pt x="3362871" y="1312185"/>
                </a:cubicBezTo>
                <a:cubicBezTo>
                  <a:pt x="3363039" y="1312238"/>
                  <a:pt x="3363208" y="1312243"/>
                  <a:pt x="3363377" y="1312248"/>
                </a:cubicBezTo>
                <a:lnTo>
                  <a:pt x="3363917" y="1318938"/>
                </a:lnTo>
                <a:cubicBezTo>
                  <a:pt x="3368974" y="1349182"/>
                  <a:pt x="3371423" y="1380067"/>
                  <a:pt x="3371381" y="1411395"/>
                </a:cubicBezTo>
                <a:cubicBezTo>
                  <a:pt x="3372693" y="1417025"/>
                  <a:pt x="3372752" y="1422694"/>
                  <a:pt x="3372752" y="1428376"/>
                </a:cubicBezTo>
                <a:cubicBezTo>
                  <a:pt x="3372752" y="1432198"/>
                  <a:pt x="3372725" y="1436014"/>
                  <a:pt x="3372159" y="1439816"/>
                </a:cubicBezTo>
                <a:lnTo>
                  <a:pt x="3371660" y="1439783"/>
                </a:lnTo>
                <a:lnTo>
                  <a:pt x="3371634" y="1440278"/>
                </a:lnTo>
                <a:lnTo>
                  <a:pt x="3354515" y="1438652"/>
                </a:lnTo>
                <a:cubicBezTo>
                  <a:pt x="3322141" y="1438125"/>
                  <a:pt x="3290261" y="1435144"/>
                  <a:pt x="3259089" y="1429590"/>
                </a:cubicBezTo>
                <a:cubicBezTo>
                  <a:pt x="3253512" y="1430009"/>
                  <a:pt x="3248183" y="1429061"/>
                  <a:pt x="3242872" y="1428050"/>
                </a:cubicBezTo>
                <a:lnTo>
                  <a:pt x="3242756" y="1426902"/>
                </a:lnTo>
                <a:cubicBezTo>
                  <a:pt x="2883905" y="1367503"/>
                  <a:pt x="2602866" y="1086726"/>
                  <a:pt x="2552590" y="733861"/>
                </a:cubicBezTo>
                <a:cubicBezTo>
                  <a:pt x="2552423" y="733808"/>
                  <a:pt x="2552254" y="733803"/>
                  <a:pt x="2552085" y="733798"/>
                </a:cubicBezTo>
                <a:lnTo>
                  <a:pt x="2551547" y="727122"/>
                </a:lnTo>
                <a:cubicBezTo>
                  <a:pt x="2546488" y="696872"/>
                  <a:pt x="2544037" y="665981"/>
                  <a:pt x="2544079" y="634646"/>
                </a:cubicBezTo>
                <a:cubicBezTo>
                  <a:pt x="2542767" y="629018"/>
                  <a:pt x="2542709" y="623351"/>
                  <a:pt x="2542709" y="617670"/>
                </a:cubicBezTo>
                <a:lnTo>
                  <a:pt x="2543303" y="606230"/>
                </a:lnTo>
                <a:lnTo>
                  <a:pt x="2543801" y="606263"/>
                </a:lnTo>
                <a:close/>
                <a:moveTo>
                  <a:pt x="2521076" y="605769"/>
                </a:moveTo>
                <a:lnTo>
                  <a:pt x="2521102" y="606263"/>
                </a:lnTo>
                <a:lnTo>
                  <a:pt x="2521600" y="606230"/>
                </a:lnTo>
                <a:lnTo>
                  <a:pt x="2522194" y="617670"/>
                </a:lnTo>
                <a:cubicBezTo>
                  <a:pt x="2522194" y="623351"/>
                  <a:pt x="2522135" y="629018"/>
                  <a:pt x="2520823" y="634646"/>
                </a:cubicBezTo>
                <a:cubicBezTo>
                  <a:pt x="2520865" y="665981"/>
                  <a:pt x="2518415" y="696872"/>
                  <a:pt x="2513356" y="727122"/>
                </a:cubicBezTo>
                <a:lnTo>
                  <a:pt x="2512818" y="733798"/>
                </a:lnTo>
                <a:cubicBezTo>
                  <a:pt x="2512648" y="733803"/>
                  <a:pt x="2512480" y="733808"/>
                  <a:pt x="2512312" y="733861"/>
                </a:cubicBezTo>
                <a:cubicBezTo>
                  <a:pt x="2462037" y="1086726"/>
                  <a:pt x="2180998" y="1367503"/>
                  <a:pt x="1822147" y="1426902"/>
                </a:cubicBezTo>
                <a:lnTo>
                  <a:pt x="1822030" y="1428050"/>
                </a:lnTo>
                <a:cubicBezTo>
                  <a:pt x="1816720" y="1429061"/>
                  <a:pt x="1811391" y="1430009"/>
                  <a:pt x="1805814" y="1429590"/>
                </a:cubicBezTo>
                <a:cubicBezTo>
                  <a:pt x="1774642" y="1435144"/>
                  <a:pt x="1742762" y="1438125"/>
                  <a:pt x="1710387" y="1438652"/>
                </a:cubicBezTo>
                <a:lnTo>
                  <a:pt x="1693269" y="1440278"/>
                </a:lnTo>
                <a:lnTo>
                  <a:pt x="1693243" y="1439783"/>
                </a:lnTo>
                <a:lnTo>
                  <a:pt x="1692744" y="1439816"/>
                </a:lnTo>
                <a:cubicBezTo>
                  <a:pt x="1692178" y="1436014"/>
                  <a:pt x="1692151" y="1432198"/>
                  <a:pt x="1692151" y="1428376"/>
                </a:cubicBezTo>
                <a:cubicBezTo>
                  <a:pt x="1692151" y="1422694"/>
                  <a:pt x="1692209" y="1417025"/>
                  <a:pt x="1693521" y="1411395"/>
                </a:cubicBezTo>
                <a:cubicBezTo>
                  <a:pt x="1693479" y="1380067"/>
                  <a:pt x="1695929" y="1349182"/>
                  <a:pt x="1700985" y="1318938"/>
                </a:cubicBezTo>
                <a:lnTo>
                  <a:pt x="1701526" y="1312248"/>
                </a:lnTo>
                <a:cubicBezTo>
                  <a:pt x="1701694" y="1312243"/>
                  <a:pt x="1701864" y="1312238"/>
                  <a:pt x="1702031" y="1312185"/>
                </a:cubicBezTo>
                <a:cubicBezTo>
                  <a:pt x="1752308" y="959319"/>
                  <a:pt x="2033347" y="678542"/>
                  <a:pt x="2392197" y="619144"/>
                </a:cubicBezTo>
                <a:lnTo>
                  <a:pt x="2392314" y="617996"/>
                </a:lnTo>
                <a:cubicBezTo>
                  <a:pt x="2397623" y="616986"/>
                  <a:pt x="2402951" y="616038"/>
                  <a:pt x="2408527" y="616457"/>
                </a:cubicBezTo>
                <a:cubicBezTo>
                  <a:pt x="2439710" y="610900"/>
                  <a:pt x="2471603" y="607919"/>
                  <a:pt x="2503988" y="607392"/>
                </a:cubicBezTo>
                <a:close/>
                <a:moveTo>
                  <a:pt x="851676" y="605769"/>
                </a:moveTo>
                <a:lnTo>
                  <a:pt x="868763" y="607392"/>
                </a:lnTo>
                <a:cubicBezTo>
                  <a:pt x="901149" y="607919"/>
                  <a:pt x="933041" y="610900"/>
                  <a:pt x="964225" y="616457"/>
                </a:cubicBezTo>
                <a:cubicBezTo>
                  <a:pt x="969801" y="616038"/>
                  <a:pt x="975129" y="616986"/>
                  <a:pt x="980437" y="617996"/>
                </a:cubicBezTo>
                <a:lnTo>
                  <a:pt x="980555" y="619144"/>
                </a:lnTo>
                <a:cubicBezTo>
                  <a:pt x="1339405" y="678542"/>
                  <a:pt x="1620444" y="959319"/>
                  <a:pt x="1670720" y="1312185"/>
                </a:cubicBezTo>
                <a:cubicBezTo>
                  <a:pt x="1670888" y="1312238"/>
                  <a:pt x="1671057" y="1312243"/>
                  <a:pt x="1671226" y="1312248"/>
                </a:cubicBezTo>
                <a:lnTo>
                  <a:pt x="1671766" y="1318938"/>
                </a:lnTo>
                <a:cubicBezTo>
                  <a:pt x="1676823" y="1349182"/>
                  <a:pt x="1679272" y="1380067"/>
                  <a:pt x="1679230" y="1411395"/>
                </a:cubicBezTo>
                <a:cubicBezTo>
                  <a:pt x="1680542" y="1417025"/>
                  <a:pt x="1680601" y="1422694"/>
                  <a:pt x="1680601" y="1428376"/>
                </a:cubicBezTo>
                <a:cubicBezTo>
                  <a:pt x="1680601" y="1432198"/>
                  <a:pt x="1680574" y="1436014"/>
                  <a:pt x="1680008" y="1439816"/>
                </a:cubicBezTo>
                <a:lnTo>
                  <a:pt x="1679509" y="1439783"/>
                </a:lnTo>
                <a:lnTo>
                  <a:pt x="1679483" y="1440278"/>
                </a:lnTo>
                <a:lnTo>
                  <a:pt x="1662364" y="1438652"/>
                </a:lnTo>
                <a:cubicBezTo>
                  <a:pt x="1629990" y="1438125"/>
                  <a:pt x="1598110" y="1435144"/>
                  <a:pt x="1566938" y="1429590"/>
                </a:cubicBezTo>
                <a:cubicBezTo>
                  <a:pt x="1561361" y="1430009"/>
                  <a:pt x="1556032" y="1429061"/>
                  <a:pt x="1550721" y="1428050"/>
                </a:cubicBezTo>
                <a:lnTo>
                  <a:pt x="1550605" y="1426902"/>
                </a:lnTo>
                <a:cubicBezTo>
                  <a:pt x="1191754" y="1367503"/>
                  <a:pt x="910715" y="1086726"/>
                  <a:pt x="860439" y="733861"/>
                </a:cubicBezTo>
                <a:cubicBezTo>
                  <a:pt x="860272" y="733808"/>
                  <a:pt x="860103" y="733803"/>
                  <a:pt x="859934" y="733798"/>
                </a:cubicBezTo>
                <a:lnTo>
                  <a:pt x="859396" y="727122"/>
                </a:lnTo>
                <a:cubicBezTo>
                  <a:pt x="854337" y="696872"/>
                  <a:pt x="851886" y="665981"/>
                  <a:pt x="851928" y="634646"/>
                </a:cubicBezTo>
                <a:cubicBezTo>
                  <a:pt x="850616" y="629018"/>
                  <a:pt x="850558" y="623351"/>
                  <a:pt x="850558" y="617670"/>
                </a:cubicBezTo>
                <a:lnTo>
                  <a:pt x="851152" y="606230"/>
                </a:lnTo>
                <a:lnTo>
                  <a:pt x="851650" y="606263"/>
                </a:lnTo>
                <a:close/>
                <a:moveTo>
                  <a:pt x="828925" y="605769"/>
                </a:moveTo>
                <a:lnTo>
                  <a:pt x="828951" y="606263"/>
                </a:lnTo>
                <a:lnTo>
                  <a:pt x="829449" y="606230"/>
                </a:lnTo>
                <a:lnTo>
                  <a:pt x="830043" y="617670"/>
                </a:lnTo>
                <a:cubicBezTo>
                  <a:pt x="830043" y="623351"/>
                  <a:pt x="829984" y="629018"/>
                  <a:pt x="828672" y="634646"/>
                </a:cubicBezTo>
                <a:cubicBezTo>
                  <a:pt x="828714" y="665981"/>
                  <a:pt x="826264" y="696872"/>
                  <a:pt x="821205" y="727122"/>
                </a:cubicBezTo>
                <a:lnTo>
                  <a:pt x="820667" y="733798"/>
                </a:lnTo>
                <a:cubicBezTo>
                  <a:pt x="820497" y="733803"/>
                  <a:pt x="820329" y="733808"/>
                  <a:pt x="820161" y="733861"/>
                </a:cubicBezTo>
                <a:cubicBezTo>
                  <a:pt x="769886" y="1086726"/>
                  <a:pt x="488847" y="1367503"/>
                  <a:pt x="129995" y="1426902"/>
                </a:cubicBezTo>
                <a:lnTo>
                  <a:pt x="129879" y="1428050"/>
                </a:lnTo>
                <a:cubicBezTo>
                  <a:pt x="124569" y="1429061"/>
                  <a:pt x="119240" y="1430009"/>
                  <a:pt x="113663" y="1429590"/>
                </a:cubicBezTo>
                <a:cubicBezTo>
                  <a:pt x="82491" y="1435144"/>
                  <a:pt x="50611" y="1438125"/>
                  <a:pt x="18236" y="1438652"/>
                </a:cubicBezTo>
                <a:lnTo>
                  <a:pt x="1118" y="1440278"/>
                </a:lnTo>
                <a:lnTo>
                  <a:pt x="1092" y="1439783"/>
                </a:lnTo>
                <a:lnTo>
                  <a:pt x="593" y="1439816"/>
                </a:lnTo>
                <a:cubicBezTo>
                  <a:pt x="27" y="1436014"/>
                  <a:pt x="0" y="1432198"/>
                  <a:pt x="0" y="1428376"/>
                </a:cubicBezTo>
                <a:cubicBezTo>
                  <a:pt x="0" y="1422694"/>
                  <a:pt x="58" y="1417025"/>
                  <a:pt x="1370" y="1411395"/>
                </a:cubicBezTo>
                <a:cubicBezTo>
                  <a:pt x="1328" y="1380067"/>
                  <a:pt x="3778" y="1349182"/>
                  <a:pt x="8835" y="1318938"/>
                </a:cubicBezTo>
                <a:lnTo>
                  <a:pt x="9375" y="1312248"/>
                </a:lnTo>
                <a:cubicBezTo>
                  <a:pt x="9543" y="1312243"/>
                  <a:pt x="9713" y="1312238"/>
                  <a:pt x="9880" y="1312185"/>
                </a:cubicBezTo>
                <a:cubicBezTo>
                  <a:pt x="60157" y="959319"/>
                  <a:pt x="341196" y="678542"/>
                  <a:pt x="700046" y="619144"/>
                </a:cubicBezTo>
                <a:lnTo>
                  <a:pt x="700163" y="617996"/>
                </a:lnTo>
                <a:cubicBezTo>
                  <a:pt x="705472" y="616986"/>
                  <a:pt x="710800" y="616038"/>
                  <a:pt x="716376" y="616457"/>
                </a:cubicBezTo>
                <a:cubicBezTo>
                  <a:pt x="747559" y="610900"/>
                  <a:pt x="779452" y="607919"/>
                  <a:pt x="811837" y="607392"/>
                </a:cubicBezTo>
                <a:close/>
                <a:moveTo>
                  <a:pt x="8824701" y="0"/>
                </a:moveTo>
                <a:lnTo>
                  <a:pt x="9033411" y="0"/>
                </a:lnTo>
                <a:cubicBezTo>
                  <a:pt x="9066347" y="30426"/>
                  <a:pt x="9096640" y="63469"/>
                  <a:pt x="9123965" y="98781"/>
                </a:cubicBezTo>
                <a:lnTo>
                  <a:pt x="9139239" y="122382"/>
                </a:lnTo>
                <a:lnTo>
                  <a:pt x="9139239" y="425734"/>
                </a:lnTo>
                <a:lnTo>
                  <a:pt x="9104305" y="314451"/>
                </a:lnTo>
                <a:cubicBezTo>
                  <a:pt x="9046997" y="183490"/>
                  <a:pt x="8948803" y="73504"/>
                  <a:pt x="8824701" y="0"/>
                </a:cubicBezTo>
                <a:close/>
                <a:moveTo>
                  <a:pt x="8494877" y="0"/>
                </a:moveTo>
                <a:lnTo>
                  <a:pt x="8628893" y="0"/>
                </a:lnTo>
                <a:cubicBezTo>
                  <a:pt x="8697052" y="198004"/>
                  <a:pt x="8856086" y="355591"/>
                  <a:pt x="9058275" y="426756"/>
                </a:cubicBezTo>
                <a:lnTo>
                  <a:pt x="9139239" y="449526"/>
                </a:lnTo>
                <a:lnTo>
                  <a:pt x="9139239" y="577136"/>
                </a:lnTo>
                <a:lnTo>
                  <a:pt x="9043252" y="554355"/>
                </a:lnTo>
                <a:cubicBezTo>
                  <a:pt x="8776836" y="470904"/>
                  <a:pt x="8569058" y="262348"/>
                  <a:pt x="8494877" y="0"/>
                </a:cubicBezTo>
                <a:close/>
                <a:moveTo>
                  <a:pt x="7876547" y="0"/>
                </a:moveTo>
                <a:lnTo>
                  <a:pt x="8085257" y="0"/>
                </a:lnTo>
                <a:cubicBezTo>
                  <a:pt x="7919787" y="98005"/>
                  <a:pt x="7800378" y="260867"/>
                  <a:pt x="7762527" y="451830"/>
                </a:cubicBezTo>
                <a:cubicBezTo>
                  <a:pt x="8006579" y="399791"/>
                  <a:pt x="8203169" y="226290"/>
                  <a:pt x="8281065" y="0"/>
                </a:cubicBezTo>
                <a:lnTo>
                  <a:pt x="8415081" y="0"/>
                </a:lnTo>
                <a:cubicBezTo>
                  <a:pt x="8330303" y="299826"/>
                  <a:pt x="8071031" y="529393"/>
                  <a:pt x="7749156" y="582253"/>
                </a:cubicBezTo>
                <a:lnTo>
                  <a:pt x="7749040" y="583392"/>
                </a:lnTo>
                <a:cubicBezTo>
                  <a:pt x="7743729" y="584395"/>
                  <a:pt x="7738400" y="585336"/>
                  <a:pt x="7732823" y="584920"/>
                </a:cubicBezTo>
                <a:cubicBezTo>
                  <a:pt x="7701651" y="590430"/>
                  <a:pt x="7669771" y="593388"/>
                  <a:pt x="7637396" y="593911"/>
                </a:cubicBezTo>
                <a:lnTo>
                  <a:pt x="7620278" y="595524"/>
                </a:lnTo>
                <a:lnTo>
                  <a:pt x="7620252" y="595033"/>
                </a:lnTo>
                <a:lnTo>
                  <a:pt x="7619753" y="595066"/>
                </a:lnTo>
                <a:cubicBezTo>
                  <a:pt x="7619187" y="591293"/>
                  <a:pt x="7619160" y="587507"/>
                  <a:pt x="7619160" y="583715"/>
                </a:cubicBezTo>
                <a:cubicBezTo>
                  <a:pt x="7619160" y="578078"/>
                  <a:pt x="7619219" y="572454"/>
                  <a:pt x="7620531" y="566868"/>
                </a:cubicBezTo>
                <a:cubicBezTo>
                  <a:pt x="7620488" y="535786"/>
                  <a:pt x="7622938" y="505143"/>
                  <a:pt x="7627995" y="475137"/>
                </a:cubicBezTo>
                <a:lnTo>
                  <a:pt x="7628535" y="468500"/>
                </a:lnTo>
                <a:cubicBezTo>
                  <a:pt x="7628704" y="468495"/>
                  <a:pt x="7628873" y="468490"/>
                  <a:pt x="7629040" y="468437"/>
                </a:cubicBezTo>
                <a:cubicBezTo>
                  <a:pt x="7655343" y="285283"/>
                  <a:pt x="7744803" y="121704"/>
                  <a:pt x="7876547" y="0"/>
                </a:cubicBezTo>
                <a:close/>
                <a:moveTo>
                  <a:pt x="6802727" y="0"/>
                </a:moveTo>
                <a:lnTo>
                  <a:pt x="6936742" y="0"/>
                </a:lnTo>
                <a:cubicBezTo>
                  <a:pt x="7014638" y="226290"/>
                  <a:pt x="7211228" y="399791"/>
                  <a:pt x="7455280" y="451830"/>
                </a:cubicBezTo>
                <a:cubicBezTo>
                  <a:pt x="7417429" y="260867"/>
                  <a:pt x="7298020" y="98005"/>
                  <a:pt x="7132550" y="0"/>
                </a:cubicBezTo>
                <a:lnTo>
                  <a:pt x="7341259" y="0"/>
                </a:lnTo>
                <a:cubicBezTo>
                  <a:pt x="7473003" y="121704"/>
                  <a:pt x="7562464" y="285283"/>
                  <a:pt x="7588766" y="468437"/>
                </a:cubicBezTo>
                <a:cubicBezTo>
                  <a:pt x="7588934" y="468490"/>
                  <a:pt x="7589103" y="468495"/>
                  <a:pt x="7589272" y="468500"/>
                </a:cubicBezTo>
                <a:lnTo>
                  <a:pt x="7589812" y="475137"/>
                </a:lnTo>
                <a:cubicBezTo>
                  <a:pt x="7594869" y="505143"/>
                  <a:pt x="7597319" y="535786"/>
                  <a:pt x="7597276" y="566868"/>
                </a:cubicBezTo>
                <a:cubicBezTo>
                  <a:pt x="7598588" y="572454"/>
                  <a:pt x="7598647" y="578078"/>
                  <a:pt x="7598647" y="583715"/>
                </a:cubicBezTo>
                <a:cubicBezTo>
                  <a:pt x="7598647" y="587507"/>
                  <a:pt x="7598620" y="591293"/>
                  <a:pt x="7598054" y="595066"/>
                </a:cubicBezTo>
                <a:lnTo>
                  <a:pt x="7597555" y="595033"/>
                </a:lnTo>
                <a:lnTo>
                  <a:pt x="7597529" y="595524"/>
                </a:lnTo>
                <a:lnTo>
                  <a:pt x="7580411" y="593911"/>
                </a:lnTo>
                <a:cubicBezTo>
                  <a:pt x="7548036" y="593388"/>
                  <a:pt x="7516156" y="590430"/>
                  <a:pt x="7484984" y="584920"/>
                </a:cubicBezTo>
                <a:cubicBezTo>
                  <a:pt x="7479407" y="585336"/>
                  <a:pt x="7474078" y="584395"/>
                  <a:pt x="7468767" y="583392"/>
                </a:cubicBezTo>
                <a:lnTo>
                  <a:pt x="7468651" y="582253"/>
                </a:lnTo>
                <a:cubicBezTo>
                  <a:pt x="7146776" y="529393"/>
                  <a:pt x="6887504" y="299826"/>
                  <a:pt x="6802727" y="0"/>
                </a:cubicBezTo>
                <a:close/>
                <a:moveTo>
                  <a:pt x="6184397" y="0"/>
                </a:moveTo>
                <a:lnTo>
                  <a:pt x="6393106" y="0"/>
                </a:lnTo>
                <a:cubicBezTo>
                  <a:pt x="6227636" y="98005"/>
                  <a:pt x="6108227" y="260867"/>
                  <a:pt x="6070376" y="451830"/>
                </a:cubicBezTo>
                <a:cubicBezTo>
                  <a:pt x="6314429" y="399791"/>
                  <a:pt x="6511018" y="226290"/>
                  <a:pt x="6588914" y="0"/>
                </a:cubicBezTo>
                <a:lnTo>
                  <a:pt x="6722931" y="0"/>
                </a:lnTo>
                <a:cubicBezTo>
                  <a:pt x="6638152" y="299826"/>
                  <a:pt x="6378880" y="529393"/>
                  <a:pt x="6057005" y="582253"/>
                </a:cubicBezTo>
                <a:lnTo>
                  <a:pt x="6056889" y="583392"/>
                </a:lnTo>
                <a:cubicBezTo>
                  <a:pt x="6051578" y="584395"/>
                  <a:pt x="6046249" y="585336"/>
                  <a:pt x="6040672" y="584920"/>
                </a:cubicBezTo>
                <a:cubicBezTo>
                  <a:pt x="6009500" y="590430"/>
                  <a:pt x="5977620" y="593388"/>
                  <a:pt x="5945246" y="593911"/>
                </a:cubicBezTo>
                <a:lnTo>
                  <a:pt x="5928127" y="595524"/>
                </a:lnTo>
                <a:lnTo>
                  <a:pt x="5928101" y="595033"/>
                </a:lnTo>
                <a:lnTo>
                  <a:pt x="5927602" y="595066"/>
                </a:lnTo>
                <a:cubicBezTo>
                  <a:pt x="5927036" y="591293"/>
                  <a:pt x="5927009" y="587507"/>
                  <a:pt x="5927009" y="583715"/>
                </a:cubicBezTo>
                <a:cubicBezTo>
                  <a:pt x="5927009" y="578078"/>
                  <a:pt x="5927068" y="572454"/>
                  <a:pt x="5928380" y="566868"/>
                </a:cubicBezTo>
                <a:cubicBezTo>
                  <a:pt x="5928338" y="535786"/>
                  <a:pt x="5930787" y="505143"/>
                  <a:pt x="5935844" y="475137"/>
                </a:cubicBezTo>
                <a:lnTo>
                  <a:pt x="5936384" y="468500"/>
                </a:lnTo>
                <a:cubicBezTo>
                  <a:pt x="5936553" y="468495"/>
                  <a:pt x="5936722" y="468490"/>
                  <a:pt x="5936890" y="468437"/>
                </a:cubicBezTo>
                <a:cubicBezTo>
                  <a:pt x="5963192" y="285283"/>
                  <a:pt x="6052653" y="121703"/>
                  <a:pt x="6184397" y="0"/>
                </a:cubicBezTo>
                <a:close/>
                <a:moveTo>
                  <a:pt x="5110576" y="0"/>
                </a:moveTo>
                <a:lnTo>
                  <a:pt x="5244592" y="0"/>
                </a:lnTo>
                <a:cubicBezTo>
                  <a:pt x="5322488" y="226290"/>
                  <a:pt x="5519077" y="399791"/>
                  <a:pt x="5763129" y="451830"/>
                </a:cubicBezTo>
                <a:cubicBezTo>
                  <a:pt x="5725278" y="260867"/>
                  <a:pt x="5605869" y="98005"/>
                  <a:pt x="5440399" y="0"/>
                </a:cubicBezTo>
                <a:lnTo>
                  <a:pt x="5649109" y="0"/>
                </a:lnTo>
                <a:cubicBezTo>
                  <a:pt x="5780853" y="121704"/>
                  <a:pt x="5870314" y="285283"/>
                  <a:pt x="5896616" y="468437"/>
                </a:cubicBezTo>
                <a:cubicBezTo>
                  <a:pt x="5896783" y="468490"/>
                  <a:pt x="5896953" y="468495"/>
                  <a:pt x="5897121" y="468500"/>
                </a:cubicBezTo>
                <a:lnTo>
                  <a:pt x="5897662" y="475137"/>
                </a:lnTo>
                <a:cubicBezTo>
                  <a:pt x="5902718" y="505143"/>
                  <a:pt x="5905168" y="535786"/>
                  <a:pt x="5905126" y="566868"/>
                </a:cubicBezTo>
                <a:cubicBezTo>
                  <a:pt x="5906438" y="572454"/>
                  <a:pt x="5906496" y="578078"/>
                  <a:pt x="5906496" y="583715"/>
                </a:cubicBezTo>
                <a:cubicBezTo>
                  <a:pt x="5906496" y="587507"/>
                  <a:pt x="5906469" y="591293"/>
                  <a:pt x="5905903" y="595066"/>
                </a:cubicBezTo>
                <a:lnTo>
                  <a:pt x="5905404" y="595033"/>
                </a:lnTo>
                <a:lnTo>
                  <a:pt x="5905378" y="595524"/>
                </a:lnTo>
                <a:lnTo>
                  <a:pt x="5888260" y="593911"/>
                </a:lnTo>
                <a:cubicBezTo>
                  <a:pt x="5855886" y="593388"/>
                  <a:pt x="5824005" y="590430"/>
                  <a:pt x="5792833" y="584920"/>
                </a:cubicBezTo>
                <a:cubicBezTo>
                  <a:pt x="5787256" y="585336"/>
                  <a:pt x="5781927" y="584395"/>
                  <a:pt x="5776617" y="583392"/>
                </a:cubicBezTo>
                <a:lnTo>
                  <a:pt x="5776501" y="582253"/>
                </a:lnTo>
                <a:cubicBezTo>
                  <a:pt x="5454626" y="529393"/>
                  <a:pt x="5195354" y="299826"/>
                  <a:pt x="5110576" y="0"/>
                </a:cubicBezTo>
                <a:close/>
                <a:moveTo>
                  <a:pt x="4492246" y="0"/>
                </a:moveTo>
                <a:lnTo>
                  <a:pt x="4700955" y="0"/>
                </a:lnTo>
                <a:cubicBezTo>
                  <a:pt x="4535485" y="98005"/>
                  <a:pt x="4416076" y="260867"/>
                  <a:pt x="4378225" y="451830"/>
                </a:cubicBezTo>
                <a:cubicBezTo>
                  <a:pt x="4622279" y="399791"/>
                  <a:pt x="4818867" y="226290"/>
                  <a:pt x="4896763" y="0"/>
                </a:cubicBezTo>
                <a:lnTo>
                  <a:pt x="5030779" y="0"/>
                </a:lnTo>
                <a:cubicBezTo>
                  <a:pt x="4946001" y="299826"/>
                  <a:pt x="4686729" y="529393"/>
                  <a:pt x="4364853" y="582253"/>
                </a:cubicBezTo>
                <a:lnTo>
                  <a:pt x="4364737" y="583392"/>
                </a:lnTo>
                <a:cubicBezTo>
                  <a:pt x="4359427" y="584395"/>
                  <a:pt x="4354098" y="585336"/>
                  <a:pt x="4348521" y="584920"/>
                </a:cubicBezTo>
                <a:cubicBezTo>
                  <a:pt x="4317350" y="590430"/>
                  <a:pt x="4285468" y="593388"/>
                  <a:pt x="4253094" y="593911"/>
                </a:cubicBezTo>
                <a:lnTo>
                  <a:pt x="4235976" y="595524"/>
                </a:lnTo>
                <a:lnTo>
                  <a:pt x="4235950" y="595033"/>
                </a:lnTo>
                <a:lnTo>
                  <a:pt x="4235451" y="595066"/>
                </a:lnTo>
                <a:cubicBezTo>
                  <a:pt x="4234885" y="591293"/>
                  <a:pt x="4234858" y="587507"/>
                  <a:pt x="4234858" y="583715"/>
                </a:cubicBezTo>
                <a:cubicBezTo>
                  <a:pt x="4234858" y="578078"/>
                  <a:pt x="4234916" y="572454"/>
                  <a:pt x="4236228" y="566868"/>
                </a:cubicBezTo>
                <a:cubicBezTo>
                  <a:pt x="4236186" y="535786"/>
                  <a:pt x="4238636" y="505143"/>
                  <a:pt x="4243692" y="475137"/>
                </a:cubicBezTo>
                <a:lnTo>
                  <a:pt x="4244233" y="468500"/>
                </a:lnTo>
                <a:cubicBezTo>
                  <a:pt x="4244401" y="468495"/>
                  <a:pt x="4244571" y="468490"/>
                  <a:pt x="4244738" y="468437"/>
                </a:cubicBezTo>
                <a:cubicBezTo>
                  <a:pt x="4271041" y="285283"/>
                  <a:pt x="4360502" y="121704"/>
                  <a:pt x="4492246" y="0"/>
                </a:cubicBezTo>
                <a:close/>
                <a:moveTo>
                  <a:pt x="3418424" y="0"/>
                </a:moveTo>
                <a:lnTo>
                  <a:pt x="3552441" y="0"/>
                </a:lnTo>
                <a:cubicBezTo>
                  <a:pt x="3630337" y="226291"/>
                  <a:pt x="3826926" y="399791"/>
                  <a:pt x="4070978" y="451830"/>
                </a:cubicBezTo>
                <a:cubicBezTo>
                  <a:pt x="4033127" y="260867"/>
                  <a:pt x="3913719" y="98005"/>
                  <a:pt x="3748249" y="0"/>
                </a:cubicBezTo>
                <a:lnTo>
                  <a:pt x="3956957" y="0"/>
                </a:lnTo>
                <a:cubicBezTo>
                  <a:pt x="4088702" y="121703"/>
                  <a:pt x="4178162" y="285283"/>
                  <a:pt x="4204464" y="468437"/>
                </a:cubicBezTo>
                <a:cubicBezTo>
                  <a:pt x="4204632" y="468490"/>
                  <a:pt x="4204801" y="468495"/>
                  <a:pt x="4204970" y="468499"/>
                </a:cubicBezTo>
                <a:lnTo>
                  <a:pt x="4205510" y="475137"/>
                </a:lnTo>
                <a:cubicBezTo>
                  <a:pt x="4210567" y="505143"/>
                  <a:pt x="4213016" y="535786"/>
                  <a:pt x="4212974" y="566868"/>
                </a:cubicBezTo>
                <a:cubicBezTo>
                  <a:pt x="4214286" y="572454"/>
                  <a:pt x="4214345" y="578078"/>
                  <a:pt x="4214345" y="583715"/>
                </a:cubicBezTo>
                <a:cubicBezTo>
                  <a:pt x="4214345" y="587508"/>
                  <a:pt x="4214318" y="591293"/>
                  <a:pt x="4213752" y="595066"/>
                </a:cubicBezTo>
                <a:lnTo>
                  <a:pt x="4213253" y="595033"/>
                </a:lnTo>
                <a:lnTo>
                  <a:pt x="4213227" y="595524"/>
                </a:lnTo>
                <a:lnTo>
                  <a:pt x="4196108" y="593911"/>
                </a:lnTo>
                <a:cubicBezTo>
                  <a:pt x="4163734" y="593388"/>
                  <a:pt x="4131854" y="590430"/>
                  <a:pt x="4100682" y="584920"/>
                </a:cubicBezTo>
                <a:cubicBezTo>
                  <a:pt x="4095105" y="585336"/>
                  <a:pt x="4089776" y="584395"/>
                  <a:pt x="4084465" y="583392"/>
                </a:cubicBezTo>
                <a:lnTo>
                  <a:pt x="4084349" y="582253"/>
                </a:lnTo>
                <a:cubicBezTo>
                  <a:pt x="3762475" y="529393"/>
                  <a:pt x="3503203" y="299826"/>
                  <a:pt x="3418424" y="0"/>
                </a:cubicBezTo>
                <a:close/>
                <a:moveTo>
                  <a:pt x="2800095" y="0"/>
                </a:moveTo>
                <a:lnTo>
                  <a:pt x="3008804" y="0"/>
                </a:lnTo>
                <a:cubicBezTo>
                  <a:pt x="2843334" y="98005"/>
                  <a:pt x="2723925" y="260867"/>
                  <a:pt x="2686074" y="451830"/>
                </a:cubicBezTo>
                <a:cubicBezTo>
                  <a:pt x="2930126" y="399791"/>
                  <a:pt x="3126716" y="226291"/>
                  <a:pt x="3204612" y="0"/>
                </a:cubicBezTo>
                <a:lnTo>
                  <a:pt x="3338628" y="0"/>
                </a:lnTo>
                <a:cubicBezTo>
                  <a:pt x="3253850" y="299826"/>
                  <a:pt x="2994578" y="529393"/>
                  <a:pt x="2672703" y="582253"/>
                </a:cubicBezTo>
                <a:lnTo>
                  <a:pt x="2672586" y="583392"/>
                </a:lnTo>
                <a:cubicBezTo>
                  <a:pt x="2667276" y="584395"/>
                  <a:pt x="2661947" y="585336"/>
                  <a:pt x="2656370" y="584920"/>
                </a:cubicBezTo>
                <a:cubicBezTo>
                  <a:pt x="2625198" y="590430"/>
                  <a:pt x="2593318" y="593388"/>
                  <a:pt x="2560943" y="593911"/>
                </a:cubicBezTo>
                <a:lnTo>
                  <a:pt x="2543825" y="595524"/>
                </a:lnTo>
                <a:lnTo>
                  <a:pt x="2543799" y="595033"/>
                </a:lnTo>
                <a:lnTo>
                  <a:pt x="2543300" y="595066"/>
                </a:lnTo>
                <a:cubicBezTo>
                  <a:pt x="2542734" y="591293"/>
                  <a:pt x="2542707" y="587507"/>
                  <a:pt x="2542707" y="583715"/>
                </a:cubicBezTo>
                <a:cubicBezTo>
                  <a:pt x="2542707" y="578078"/>
                  <a:pt x="2542765" y="572454"/>
                  <a:pt x="2544077" y="566868"/>
                </a:cubicBezTo>
                <a:cubicBezTo>
                  <a:pt x="2544035" y="535786"/>
                  <a:pt x="2546485" y="505143"/>
                  <a:pt x="2551541" y="475137"/>
                </a:cubicBezTo>
                <a:lnTo>
                  <a:pt x="2552082" y="468499"/>
                </a:lnTo>
                <a:cubicBezTo>
                  <a:pt x="2552250" y="468495"/>
                  <a:pt x="2552420" y="468490"/>
                  <a:pt x="2552587" y="468437"/>
                </a:cubicBezTo>
                <a:cubicBezTo>
                  <a:pt x="2578890" y="285283"/>
                  <a:pt x="2668350" y="121703"/>
                  <a:pt x="2800095" y="0"/>
                </a:cubicBezTo>
                <a:close/>
                <a:moveTo>
                  <a:pt x="1726273" y="0"/>
                </a:moveTo>
                <a:lnTo>
                  <a:pt x="1860290" y="0"/>
                </a:lnTo>
                <a:cubicBezTo>
                  <a:pt x="1938186" y="226291"/>
                  <a:pt x="2134775" y="399791"/>
                  <a:pt x="2378827" y="451830"/>
                </a:cubicBezTo>
                <a:cubicBezTo>
                  <a:pt x="2340976" y="260867"/>
                  <a:pt x="2221567" y="98005"/>
                  <a:pt x="2056098" y="0"/>
                </a:cubicBezTo>
                <a:lnTo>
                  <a:pt x="2264806" y="0"/>
                </a:lnTo>
                <a:cubicBezTo>
                  <a:pt x="2396551" y="121703"/>
                  <a:pt x="2486011" y="285283"/>
                  <a:pt x="2512313" y="468437"/>
                </a:cubicBezTo>
                <a:cubicBezTo>
                  <a:pt x="2512481" y="468490"/>
                  <a:pt x="2512650" y="468495"/>
                  <a:pt x="2512819" y="468499"/>
                </a:cubicBezTo>
                <a:lnTo>
                  <a:pt x="2513359" y="475137"/>
                </a:lnTo>
                <a:cubicBezTo>
                  <a:pt x="2518416" y="505143"/>
                  <a:pt x="2520865" y="535786"/>
                  <a:pt x="2520823" y="566868"/>
                </a:cubicBezTo>
                <a:cubicBezTo>
                  <a:pt x="2522135" y="572454"/>
                  <a:pt x="2522194" y="578078"/>
                  <a:pt x="2522194" y="583715"/>
                </a:cubicBezTo>
                <a:cubicBezTo>
                  <a:pt x="2522194" y="587508"/>
                  <a:pt x="2522167" y="591293"/>
                  <a:pt x="2521601" y="595066"/>
                </a:cubicBezTo>
                <a:lnTo>
                  <a:pt x="2521102" y="595033"/>
                </a:lnTo>
                <a:lnTo>
                  <a:pt x="2521076" y="595524"/>
                </a:lnTo>
                <a:lnTo>
                  <a:pt x="2503957" y="593911"/>
                </a:lnTo>
                <a:cubicBezTo>
                  <a:pt x="2471583" y="593388"/>
                  <a:pt x="2439703" y="590430"/>
                  <a:pt x="2408531" y="584920"/>
                </a:cubicBezTo>
                <a:cubicBezTo>
                  <a:pt x="2402954" y="585336"/>
                  <a:pt x="2397625" y="584395"/>
                  <a:pt x="2392314" y="583392"/>
                </a:cubicBezTo>
                <a:lnTo>
                  <a:pt x="2392198" y="582253"/>
                </a:lnTo>
                <a:cubicBezTo>
                  <a:pt x="2070324" y="529393"/>
                  <a:pt x="1811051" y="299826"/>
                  <a:pt x="1726273" y="0"/>
                </a:cubicBezTo>
                <a:close/>
                <a:moveTo>
                  <a:pt x="1107944" y="0"/>
                </a:moveTo>
                <a:lnTo>
                  <a:pt x="1316652" y="0"/>
                </a:lnTo>
                <a:cubicBezTo>
                  <a:pt x="1151183" y="98005"/>
                  <a:pt x="1031774" y="260867"/>
                  <a:pt x="993923" y="451830"/>
                </a:cubicBezTo>
                <a:cubicBezTo>
                  <a:pt x="1237975" y="399791"/>
                  <a:pt x="1434564" y="226291"/>
                  <a:pt x="1512461" y="0"/>
                </a:cubicBezTo>
                <a:lnTo>
                  <a:pt x="1646477" y="0"/>
                </a:lnTo>
                <a:cubicBezTo>
                  <a:pt x="1561699" y="299826"/>
                  <a:pt x="1302427" y="529393"/>
                  <a:pt x="980552" y="582253"/>
                </a:cubicBezTo>
                <a:lnTo>
                  <a:pt x="980435" y="583392"/>
                </a:lnTo>
                <a:cubicBezTo>
                  <a:pt x="975125" y="584395"/>
                  <a:pt x="969796" y="585336"/>
                  <a:pt x="964219" y="584920"/>
                </a:cubicBezTo>
                <a:cubicBezTo>
                  <a:pt x="933047" y="590430"/>
                  <a:pt x="901167" y="593388"/>
                  <a:pt x="868792" y="593911"/>
                </a:cubicBezTo>
                <a:lnTo>
                  <a:pt x="851674" y="595524"/>
                </a:lnTo>
                <a:lnTo>
                  <a:pt x="851648" y="595033"/>
                </a:lnTo>
                <a:lnTo>
                  <a:pt x="851149" y="595066"/>
                </a:lnTo>
                <a:cubicBezTo>
                  <a:pt x="850583" y="591293"/>
                  <a:pt x="850556" y="587507"/>
                  <a:pt x="850556" y="583715"/>
                </a:cubicBezTo>
                <a:cubicBezTo>
                  <a:pt x="850556" y="578078"/>
                  <a:pt x="850614" y="572454"/>
                  <a:pt x="851926" y="566868"/>
                </a:cubicBezTo>
                <a:cubicBezTo>
                  <a:pt x="851884" y="535786"/>
                  <a:pt x="854334" y="505143"/>
                  <a:pt x="859390" y="475137"/>
                </a:cubicBezTo>
                <a:lnTo>
                  <a:pt x="859931" y="468499"/>
                </a:lnTo>
                <a:cubicBezTo>
                  <a:pt x="860099" y="468495"/>
                  <a:pt x="860269" y="468490"/>
                  <a:pt x="860436" y="468437"/>
                </a:cubicBezTo>
                <a:cubicBezTo>
                  <a:pt x="886739" y="285283"/>
                  <a:pt x="976199" y="121704"/>
                  <a:pt x="1107944" y="0"/>
                </a:cubicBezTo>
                <a:close/>
                <a:moveTo>
                  <a:pt x="34122" y="0"/>
                </a:moveTo>
                <a:lnTo>
                  <a:pt x="168138" y="0"/>
                </a:lnTo>
                <a:cubicBezTo>
                  <a:pt x="246034" y="226290"/>
                  <a:pt x="442624" y="399791"/>
                  <a:pt x="686676" y="451830"/>
                </a:cubicBezTo>
                <a:cubicBezTo>
                  <a:pt x="648825" y="260867"/>
                  <a:pt x="529416" y="98005"/>
                  <a:pt x="363946" y="0"/>
                </a:cubicBezTo>
                <a:lnTo>
                  <a:pt x="572655" y="0"/>
                </a:lnTo>
                <a:cubicBezTo>
                  <a:pt x="704400" y="121703"/>
                  <a:pt x="793860" y="285283"/>
                  <a:pt x="820162" y="468437"/>
                </a:cubicBezTo>
                <a:cubicBezTo>
                  <a:pt x="820330" y="468490"/>
                  <a:pt x="820499" y="468495"/>
                  <a:pt x="820668" y="468500"/>
                </a:cubicBezTo>
                <a:lnTo>
                  <a:pt x="821208" y="475137"/>
                </a:lnTo>
                <a:cubicBezTo>
                  <a:pt x="826265" y="505143"/>
                  <a:pt x="828714" y="535786"/>
                  <a:pt x="828672" y="566868"/>
                </a:cubicBezTo>
                <a:cubicBezTo>
                  <a:pt x="829984" y="572454"/>
                  <a:pt x="830043" y="578078"/>
                  <a:pt x="830043" y="583715"/>
                </a:cubicBezTo>
                <a:cubicBezTo>
                  <a:pt x="830043" y="587508"/>
                  <a:pt x="830016" y="591293"/>
                  <a:pt x="829450" y="595066"/>
                </a:cubicBezTo>
                <a:lnTo>
                  <a:pt x="828951" y="595033"/>
                </a:lnTo>
                <a:lnTo>
                  <a:pt x="828925" y="595524"/>
                </a:lnTo>
                <a:lnTo>
                  <a:pt x="811806" y="593911"/>
                </a:lnTo>
                <a:cubicBezTo>
                  <a:pt x="779432" y="593388"/>
                  <a:pt x="747552" y="590430"/>
                  <a:pt x="716380" y="584920"/>
                </a:cubicBezTo>
                <a:cubicBezTo>
                  <a:pt x="710803" y="585336"/>
                  <a:pt x="705474" y="584395"/>
                  <a:pt x="700163" y="583392"/>
                </a:cubicBezTo>
                <a:lnTo>
                  <a:pt x="700047" y="582253"/>
                </a:lnTo>
                <a:cubicBezTo>
                  <a:pt x="378172" y="529393"/>
                  <a:pt x="118900" y="299826"/>
                  <a:pt x="341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4400" b="0" spc="200" baseline="0"/>
            </a:lvl1pPr>
          </a:lstStyle>
          <a:p>
            <a:r>
              <a:rPr lang="en-US"/>
              <a:t>Click to edit Master title style</a:t>
            </a:r>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DFF08F-DC6B-4601-B491-B0F83F6DD2DA}" type="datetimeFigureOut">
              <a:rPr lang="en-US" dirty="0"/>
              <a:t>4/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22447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p>
        </p:txBody>
      </p:sp>
      <p:sp>
        <p:nvSpPr>
          <p:cNvPr id="3" name="Content Placeholder 2"/>
          <p:cNvSpPr>
            <a:spLocks noGrp="1"/>
          </p:cNvSpPr>
          <p:nvPr>
            <p:ph sz="half" idx="1"/>
          </p:nvPr>
        </p:nvSpPr>
        <p:spPr>
          <a:xfrm>
            <a:off x="1024128"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6DFF08F-DC6B-4601-B491-B0F83F6DD2DA}" type="datetimeFigureOut">
              <a:rPr lang="en-US" dirty="0"/>
              <a:t>4/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35790815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8" y="585216"/>
            <a:ext cx="9720072" cy="1499616"/>
          </a:xfrm>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2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89320" y="2179636"/>
            <a:ext cx="4754880" cy="822960"/>
          </a:xfrm>
        </p:spPr>
        <p:txBody>
          <a:bodyPr lIns="137160" rIns="137160" anchor="ctr">
            <a:normAutofit/>
          </a:bodyPr>
          <a:lstStyle>
            <a:lvl1pPr marL="0" indent="0">
              <a:spcBef>
                <a:spcPts val="0"/>
              </a:spcBef>
              <a:spcAft>
                <a:spcPts val="0"/>
              </a:spcAft>
              <a:buNone/>
              <a:defRPr lang="en-US" sz="22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89320"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dirty="0"/>
              <a:t>4/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3743710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05FEB-5E8E-44AE-B811-403763C7A79B}"/>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D32C67FE-8A61-47CE-9632-1912EB238B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130AB-2A81-4DB2-AA79-F9327012FC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DBA4CE06-E6C9-4FAD-AEC0-0467FB2DFF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2C3C50-7120-40AD-AD50-EC4BACC63B4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CA66E34F-5ADE-4097-93AD-C84F7827EA2F}"/>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8" name="Footer Placeholder 7">
            <a:extLst>
              <a:ext uri="{FF2B5EF4-FFF2-40B4-BE49-F238E27FC236}">
                <a16:creationId xmlns:a16="http://schemas.microsoft.com/office/drawing/2014/main" id="{A9E8BEB2-C02E-44E1-AB22-B006C7681F65}"/>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ED960B72-79F1-4B2B-BE59-0E8E353093C9}"/>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2357501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DFF08F-DC6B-4601-B491-B0F83F6DD2DA}" type="datetimeFigureOut">
              <a:rPr lang="en-US" dirty="0"/>
              <a:t>4/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1685315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4/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23132690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3600"/>
            </a:lvl1pPr>
          </a:lstStyle>
          <a:p>
            <a:r>
              <a:rPr lang="en-US"/>
              <a:t>Click to edit Master title style</a:t>
            </a:r>
          </a:p>
        </p:txBody>
      </p:sp>
      <p:sp>
        <p:nvSpPr>
          <p:cNvPr id="3" name="Content Placeholder 2"/>
          <p:cNvSpPr>
            <a:spLocks noGrp="1"/>
          </p:cNvSpPr>
          <p:nvPr>
            <p:ph idx="1"/>
          </p:nvPr>
        </p:nvSpPr>
        <p:spPr>
          <a:xfrm>
            <a:off x="5715000" y="822960"/>
            <a:ext cx="5678424" cy="5184648"/>
          </a:xfrm>
        </p:spPr>
        <p:txBody>
          <a:bodyPr>
            <a:normAutofit/>
          </a:bodyPr>
          <a:lstStyle>
            <a:lvl1pPr>
              <a:defRPr sz="2000"/>
            </a:lvl1pPr>
            <a:lvl2pPr>
              <a:defRPr sz="16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t>4/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19002375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4400" spc="200" baseline="0"/>
            </a:lvl1pPr>
          </a:lstStyle>
          <a:p>
            <a:r>
              <a:rPr lang="en-US"/>
              <a:t>Click to edit Master title style</a:t>
            </a:r>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CDD058F-B960-4439-B370-43D89816EE05}" type="datetimeFigureOut">
              <a:rPr lang="en-US" dirty="0"/>
              <a:t>4/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229B06-CF2A-459A-8CBC-F18C1D67D2BB}" type="slidenum">
              <a:rPr lang="en-US" dirty="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3373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dirty="0"/>
              <a:t>4/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34510343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762000"/>
            <a:ext cx="2628900" cy="5410200"/>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990602"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dirty="0"/>
              <a:t>4/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968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age_Imag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0" imgW="287" imgH="287" progId="TCLayout.ActiveDocument.1">
                  <p:embed/>
                </p:oleObj>
              </mc:Choice>
              <mc:Fallback>
                <p:oleObj name="think-cell Slide" r:id="rId10" imgW="287" imgH="287" progId="TCLayout.ActiveDocument.1">
                  <p:embed/>
                  <p:pic>
                    <p:nvPicPr>
                      <p:cNvPr id="2" name="Object 1" hidden="1"/>
                      <p:cNvPicPr/>
                      <p:nvPr/>
                    </p:nvPicPr>
                    <p:blipFill>
                      <a:blip r:embed="rId11"/>
                      <a:stretch>
                        <a:fillRect/>
                      </a:stretch>
                    </p:blipFill>
                    <p:spPr>
                      <a:xfrm>
                        <a:off x="0" y="0"/>
                        <a:ext cx="195384" cy="158750"/>
                      </a:xfrm>
                      <a:prstGeom prst="rect">
                        <a:avLst/>
                      </a:prstGeom>
                    </p:spPr>
                  </p:pic>
                </p:oleObj>
              </mc:Fallback>
            </mc:AlternateContent>
          </a:graphicData>
        </a:graphic>
      </p:graphicFrame>
      <p:sp>
        <p:nvSpPr>
          <p:cNvPr id="18" name="Rectangle 3"/>
          <p:cNvSpPr/>
          <p:nvPr userDrawn="1">
            <p:custDataLst>
              <p:tags r:id="rId2"/>
            </p:custDataLst>
          </p:nvPr>
        </p:nvSpPr>
        <p:spPr>
          <a:xfrm>
            <a:off x="657970" y="420760"/>
            <a:ext cx="11534031"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4" name="Rectangle 3"/>
          <p:cNvSpPr/>
          <p:nvPr userDrawn="1">
            <p:custDataLst>
              <p:tags r:id="rId3"/>
            </p:custDataLst>
          </p:nvPr>
        </p:nvSpPr>
        <p:spPr>
          <a:xfrm>
            <a:off x="-1" y="0"/>
            <a:ext cx="12192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pic>
        <p:nvPicPr>
          <p:cNvPr id="1031" name="Picture 7" descr="C:\~GLUE - Hannah\01. Clients\01. HB\1. Small clients for HB\Projects\BRG Nature research (Antony Johnson) Jul 2016\2. Data and graphics\hodgkin banner_nr_colours_grey.emf"/>
          <p:cNvPicPr>
            <a:picLocks noChangeAspect="1" noChangeArrowheads="1"/>
          </p:cNvPicPr>
          <p:nvPr userDrawn="1">
            <p:custDataLst>
              <p:tags r:id="rId4"/>
            </p:custDataLst>
          </p:nvPr>
        </p:nvPicPr>
        <p:blipFill rotWithShape="1">
          <a:blip r:embed="rId12" cstate="print">
            <a:extLst>
              <a:ext uri="{28A0092B-C50C-407E-A947-70E740481C1C}">
                <a14:useLocalDpi xmlns:a14="http://schemas.microsoft.com/office/drawing/2010/main" val="0"/>
              </a:ext>
            </a:extLst>
          </a:blip>
          <a:srcRect l="4885" t="51825" r="6324" b="38081"/>
          <a:stretch/>
        </p:blipFill>
        <p:spPr bwMode="auto">
          <a:xfrm>
            <a:off x="657969" y="829425"/>
            <a:ext cx="11533292"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5"/>
            </p:custDataLst>
          </p:nvPr>
        </p:nvSpPr>
        <p:spPr>
          <a:xfrm>
            <a:off x="1014647" y="3155556"/>
            <a:ext cx="4927524" cy="653384"/>
          </a:xfrm>
        </p:spPr>
        <p:txBody>
          <a:bodyPr/>
          <a:lstStyle>
            <a:lvl1pPr>
              <a:defRPr sz="2123" b="1">
                <a:solidFill>
                  <a:schemeClr val="tx1"/>
                </a:solidFill>
              </a:defRPr>
            </a:lvl1pPr>
          </a:lstStyle>
          <a:p>
            <a:r>
              <a:rPr lang="en-US"/>
              <a:t>Online training in scientific writing and publishing</a:t>
            </a:r>
            <a:endParaRPr lang="en-GB"/>
          </a:p>
        </p:txBody>
      </p:sp>
      <p:sp>
        <p:nvSpPr>
          <p:cNvPr id="15" name="Text Placeholder 3"/>
          <p:cNvSpPr>
            <a:spLocks noGrp="1"/>
          </p:cNvSpPr>
          <p:nvPr>
            <p:ph type="body" sz="quarter" idx="12" hasCustomPrompt="1"/>
            <p:custDataLst>
              <p:tags r:id="rId6"/>
            </p:custDataLst>
          </p:nvPr>
        </p:nvSpPr>
        <p:spPr>
          <a:xfrm>
            <a:off x="1016000" y="3936049"/>
            <a:ext cx="4927600" cy="227306"/>
          </a:xfrm>
        </p:spPr>
        <p:txBody>
          <a:bodyPr/>
          <a:lstStyle>
            <a:lvl1pPr>
              <a:spcAft>
                <a:spcPts val="923"/>
              </a:spcAft>
              <a:defRPr sz="1846" b="0">
                <a:solidFill>
                  <a:schemeClr val="accent3"/>
                </a:solidFill>
                <a:latin typeface="+mj-lt"/>
              </a:defRPr>
            </a:lvl1pPr>
            <a:lvl2pPr>
              <a:spcAft>
                <a:spcPts val="923"/>
              </a:spcAft>
              <a:defRPr sz="1477">
                <a:solidFill>
                  <a:schemeClr val="accent3"/>
                </a:solidFill>
                <a:latin typeface="+mj-lt"/>
              </a:defRPr>
            </a:lvl2pPr>
          </a:lstStyle>
          <a:p>
            <a:pPr lvl="1"/>
            <a:r>
              <a:rPr lang="en-US"/>
              <a:t>November 2016</a:t>
            </a:r>
          </a:p>
        </p:txBody>
      </p:sp>
      <p:pic>
        <p:nvPicPr>
          <p:cNvPr id="16" name="Picture 5"/>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877910" y="5928730"/>
            <a:ext cx="3706444"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6" descr="C:\Users\Hannah\AppData\Roaming\Skype\My Skype Received Files\springernature_logo_v02.emf"/>
          <p:cNvPicPr>
            <a:picLocks noChangeAspect="1" noChangeArrowheads="1"/>
          </p:cNvPicPr>
          <p:nvPr userDrawn="1">
            <p:custDataLst>
              <p:tags r:id="rId8"/>
            </p:custDataLst>
          </p:nvPr>
        </p:nvPicPr>
        <p:blipFill>
          <a:blip r:embed="rId14">
            <a:extLst>
              <a:ext uri="{28A0092B-C50C-407E-A947-70E740481C1C}">
                <a14:useLocalDpi xmlns:a14="http://schemas.microsoft.com/office/drawing/2010/main" val="0"/>
              </a:ext>
            </a:extLst>
          </a:blip>
          <a:srcRect/>
          <a:stretch>
            <a:fillRect/>
          </a:stretch>
        </p:blipFill>
        <p:spPr bwMode="auto">
          <a:xfrm>
            <a:off x="664308" y="377218"/>
            <a:ext cx="2792728"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086909"/>
      </p:ext>
    </p:extLst>
  </p:cSld>
  <p:clrMapOvr>
    <a:masterClrMapping/>
  </p:clrMapOvr>
  <p:extLst>
    <p:ext uri="{DCECCB84-F9BA-43D5-87BE-67443E8EF086}">
      <p15:sldGuideLst xmlns:p15="http://schemas.microsoft.com/office/powerpoint/2012/main">
        <p15:guide id="1" pos="1439"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Page_Image oth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3" imgW="287" imgH="287" progId="TCLayout.ActiveDocument.1">
                  <p:embed/>
                </p:oleObj>
              </mc:Choice>
              <mc:Fallback>
                <p:oleObj name="think-cell Slide" r:id="rId13" imgW="287" imgH="287" progId="TCLayout.ActiveDocument.1">
                  <p:embed/>
                  <p:pic>
                    <p:nvPicPr>
                      <p:cNvPr id="2" name="Object 1" hidden="1"/>
                      <p:cNvPicPr/>
                      <p:nvPr/>
                    </p:nvPicPr>
                    <p:blipFill>
                      <a:blip r:embed="rId14"/>
                      <a:stretch>
                        <a:fillRect/>
                      </a:stretch>
                    </p:blipFill>
                    <p:spPr>
                      <a:xfrm>
                        <a:off x="0" y="0"/>
                        <a:ext cx="195384" cy="158750"/>
                      </a:xfrm>
                      <a:prstGeom prst="rect">
                        <a:avLst/>
                      </a:prstGeom>
                    </p:spPr>
                  </p:pic>
                </p:oleObj>
              </mc:Fallback>
            </mc:AlternateContent>
          </a:graphicData>
        </a:graphic>
      </p:graphicFrame>
      <p:sp>
        <p:nvSpPr>
          <p:cNvPr id="18" name="Rectangle 3"/>
          <p:cNvSpPr/>
          <p:nvPr userDrawn="1">
            <p:custDataLst>
              <p:tags r:id="rId2"/>
            </p:custDataLst>
          </p:nvPr>
        </p:nvSpPr>
        <p:spPr>
          <a:xfrm>
            <a:off x="657968" y="420760"/>
            <a:ext cx="11534031"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1" name="Rectangle 10"/>
          <p:cNvSpPr/>
          <p:nvPr userDrawn="1">
            <p:custDataLst>
              <p:tags r:id="rId3"/>
            </p:custDataLst>
          </p:nvPr>
        </p:nvSpPr>
        <p:spPr>
          <a:xfrm>
            <a:off x="-1" y="0"/>
            <a:ext cx="12192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3" name="Title 1"/>
          <p:cNvSpPr>
            <a:spLocks noGrp="1"/>
          </p:cNvSpPr>
          <p:nvPr>
            <p:ph type="title" hasCustomPrompt="1"/>
            <p:custDataLst>
              <p:tags r:id="rId4"/>
            </p:custDataLst>
          </p:nvPr>
        </p:nvSpPr>
        <p:spPr>
          <a:xfrm>
            <a:off x="1014647" y="3155556"/>
            <a:ext cx="4927524" cy="653384"/>
          </a:xfrm>
        </p:spPr>
        <p:txBody>
          <a:bodyPr/>
          <a:lstStyle>
            <a:lvl1pPr>
              <a:defRPr sz="2123" b="1" baseline="0">
                <a:solidFill>
                  <a:schemeClr val="tx1"/>
                </a:solidFill>
              </a:defRPr>
            </a:lvl1pPr>
          </a:lstStyle>
          <a:p>
            <a:r>
              <a:rPr lang="en-US"/>
              <a:t>Online training in scientific writing and publishing</a:t>
            </a:r>
            <a:endParaRPr lang="en-GB"/>
          </a:p>
        </p:txBody>
      </p:sp>
      <p:sp>
        <p:nvSpPr>
          <p:cNvPr id="15" name="Text Placeholder 3"/>
          <p:cNvSpPr>
            <a:spLocks noGrp="1"/>
          </p:cNvSpPr>
          <p:nvPr>
            <p:ph type="body" sz="quarter" idx="12" hasCustomPrompt="1"/>
            <p:custDataLst>
              <p:tags r:id="rId5"/>
            </p:custDataLst>
          </p:nvPr>
        </p:nvSpPr>
        <p:spPr>
          <a:xfrm>
            <a:off x="1016000" y="3936049"/>
            <a:ext cx="4927600" cy="227306"/>
          </a:xfrm>
        </p:spPr>
        <p:txBody>
          <a:bodyPr/>
          <a:lstStyle>
            <a:lvl1pPr>
              <a:spcAft>
                <a:spcPts val="923"/>
              </a:spcAft>
              <a:defRPr sz="1846" b="0">
                <a:solidFill>
                  <a:schemeClr val="accent3"/>
                </a:solidFill>
                <a:latin typeface="+mj-lt"/>
              </a:defRPr>
            </a:lvl1pPr>
            <a:lvl2pPr>
              <a:spcAft>
                <a:spcPts val="923"/>
              </a:spcAft>
              <a:defRPr sz="1477" baseline="0">
                <a:solidFill>
                  <a:schemeClr val="accent3"/>
                </a:solidFill>
                <a:latin typeface="+mj-lt"/>
              </a:defRPr>
            </a:lvl2pPr>
          </a:lstStyle>
          <a:p>
            <a:pPr lvl="1"/>
            <a:r>
              <a:rPr lang="en-US"/>
              <a:t>November 2016</a:t>
            </a:r>
          </a:p>
        </p:txBody>
      </p:sp>
      <p:pic>
        <p:nvPicPr>
          <p:cNvPr id="16" name="Picture 5"/>
          <p:cNvPicPr>
            <a:picLocks noChangeAspect="1" noChangeArrowheads="1"/>
          </p:cNvPicPr>
          <p:nvPr userDrawn="1">
            <p:custDataLst>
              <p:tags r:id="rId6"/>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7877910" y="5928730"/>
            <a:ext cx="3706444"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icture Placeholder 4"/>
          <p:cNvSpPr>
            <a:spLocks noGrp="1"/>
          </p:cNvSpPr>
          <p:nvPr>
            <p:ph type="pic" sz="quarter" idx="13" hasCustomPrompt="1"/>
            <p:custDataLst>
              <p:tags r:id="rId7"/>
            </p:custDataLst>
          </p:nvPr>
        </p:nvSpPr>
        <p:spPr>
          <a:xfrm>
            <a:off x="658709" y="829625"/>
            <a:ext cx="11533292" cy="2062800"/>
          </a:xfrm>
          <a:solidFill>
            <a:schemeClr val="accent3"/>
          </a:solidFill>
        </p:spPr>
        <p:txBody>
          <a:bodyPr anchor="ctr" anchorCtr="1">
            <a:noAutofit/>
          </a:bodyPr>
          <a:lstStyle>
            <a:lvl1pPr>
              <a:defRPr>
                <a:solidFill>
                  <a:schemeClr val="bg1"/>
                </a:solidFill>
              </a:defRPr>
            </a:lvl1pPr>
          </a:lstStyle>
          <a:p>
            <a:r>
              <a:rPr lang="en-GB"/>
              <a:t>Click here to add image</a:t>
            </a:r>
          </a:p>
        </p:txBody>
      </p:sp>
      <p:grpSp>
        <p:nvGrpSpPr>
          <p:cNvPr id="17" name="Group 16"/>
          <p:cNvGrpSpPr/>
          <p:nvPr userDrawn="1">
            <p:custDataLst>
              <p:tags r:id="rId8"/>
            </p:custDataLst>
          </p:nvPr>
        </p:nvGrpSpPr>
        <p:grpSpPr>
          <a:xfrm>
            <a:off x="12477016" y="14624"/>
            <a:ext cx="2903659" cy="3385201"/>
            <a:chOff x="10137575" y="14622"/>
            <a:chExt cx="2359223" cy="3385201"/>
          </a:xfrm>
        </p:grpSpPr>
        <p:sp>
          <p:nvSpPr>
            <p:cNvPr id="19" name="TextBox 18"/>
            <p:cNvSpPr txBox="1"/>
            <p:nvPr userDrawn="1">
              <p:custDataLst>
                <p:tags r:id="rId10"/>
              </p:custDataLst>
            </p:nvPr>
          </p:nvSpPr>
          <p:spPr>
            <a:xfrm>
              <a:off x="10137575" y="14622"/>
              <a:ext cx="2359223" cy="3385201"/>
            </a:xfrm>
            <a:prstGeom prst="rect">
              <a:avLst/>
            </a:prstGeom>
            <a:solidFill>
              <a:schemeClr val="bg2"/>
            </a:solidFill>
            <a:ln w="9525">
              <a:noFill/>
              <a:miter lim="800000"/>
              <a:headEnd/>
              <a:tailEnd/>
            </a:ln>
            <a:effectLst/>
          </p:spPr>
          <p:txBody>
            <a:bodyPr lIns="36000" tIns="36000" rIns="36000" bIns="36000"/>
            <a:lstStyle/>
            <a:p>
              <a:pPr defTabSz="844083">
                <a:spcAft>
                  <a:spcPts val="554"/>
                </a:spcAft>
                <a:buFont typeface="+mj-lt"/>
                <a:buNone/>
                <a:defRPr/>
              </a:pPr>
              <a:r>
                <a:rPr lang="en-GB" sz="923" b="1">
                  <a:solidFill>
                    <a:srgbClr val="58635B"/>
                  </a:solidFill>
                </a:rPr>
                <a:t>Updating image</a:t>
              </a:r>
            </a:p>
            <a:p>
              <a:pPr defTabSz="844083">
                <a:spcAft>
                  <a:spcPts val="554"/>
                </a:spcAft>
                <a:buFont typeface="+mj-lt"/>
                <a:buNone/>
                <a:defRPr/>
              </a:pPr>
              <a:r>
                <a:rPr lang="en-NZ" sz="923">
                  <a:solidFill>
                    <a:srgbClr val="58635B"/>
                  </a:solidFill>
                </a:rPr>
                <a:t>To update the background image</a:t>
              </a:r>
              <a:r>
                <a:rPr lang="en-GB" sz="923">
                  <a:solidFill>
                    <a:srgbClr val="58635B"/>
                  </a:solidFill>
                </a:rPr>
                <a:t>, click on the picture placeholder icon</a:t>
              </a:r>
            </a:p>
            <a:p>
              <a:pPr marL="158265" indent="-158265" defTabSz="844083">
                <a:spcAft>
                  <a:spcPts val="554"/>
                </a:spcAft>
                <a:buFont typeface="+mj-lt"/>
                <a:buAutoNum type="arabicPeriod"/>
                <a:defRPr/>
              </a:pPr>
              <a:endParaRPr lang="en-GB" sz="923">
                <a:solidFill>
                  <a:srgbClr val="58635B"/>
                </a:solidFill>
              </a:endParaRPr>
            </a:p>
            <a:p>
              <a:pPr marL="158265" indent="-158265" defTabSz="844083">
                <a:spcAft>
                  <a:spcPts val="554"/>
                </a:spcAft>
                <a:buFont typeface="+mj-lt"/>
                <a:buAutoNum type="arabicPeriod"/>
                <a:defRPr/>
              </a:pPr>
              <a:endParaRPr lang="en-GB" sz="923">
                <a:solidFill>
                  <a:srgbClr val="58635B"/>
                </a:solidFill>
              </a:endParaRPr>
            </a:p>
            <a:p>
              <a:pPr marL="158265" indent="-158265" defTabSz="844083">
                <a:spcAft>
                  <a:spcPts val="554"/>
                </a:spcAft>
                <a:buFont typeface="+mj-lt"/>
                <a:buAutoNum type="arabicPeriod"/>
                <a:defRPr/>
              </a:pPr>
              <a:r>
                <a:rPr lang="en-GB" sz="923">
                  <a:solidFill>
                    <a:srgbClr val="58635B"/>
                  </a:solidFill>
                </a:rPr>
                <a:t>Windows Explorer or Finder will open</a:t>
              </a:r>
            </a:p>
            <a:p>
              <a:pPr marL="158265" indent="-158265" defTabSz="844083">
                <a:spcAft>
                  <a:spcPts val="554"/>
                </a:spcAft>
                <a:buFont typeface="+mj-lt"/>
                <a:buAutoNum type="arabicPeriod"/>
                <a:defRPr/>
              </a:pPr>
              <a:r>
                <a:rPr lang="en-GB" sz="923">
                  <a:solidFill>
                    <a:srgbClr val="58635B"/>
                  </a:solidFill>
                </a:rPr>
                <a:t>Find your required image and click ‘Insert’ </a:t>
              </a:r>
            </a:p>
            <a:p>
              <a:pPr marL="158265" indent="-158265" defTabSz="844083">
                <a:spcAft>
                  <a:spcPts val="554"/>
                </a:spcAft>
                <a:buFont typeface="+mj-lt"/>
                <a:buAutoNum type="arabicPeriod"/>
                <a:defRPr/>
              </a:pPr>
              <a:r>
                <a:rPr lang="en-GB" sz="923">
                  <a:solidFill>
                    <a:srgbClr val="58635B"/>
                  </a:solidFill>
                </a:rPr>
                <a:t>When cover image inserted, right-click in the grey area directly below this text box and select ‘Reset slide’</a:t>
              </a:r>
            </a:p>
            <a:p>
              <a:pPr defTabSz="844083">
                <a:spcAft>
                  <a:spcPts val="554"/>
                </a:spcAft>
                <a:buFont typeface="+mj-lt"/>
                <a:buNone/>
                <a:defRPr/>
              </a:pPr>
              <a:r>
                <a:rPr lang="en-GB" sz="923">
                  <a:solidFill>
                    <a:srgbClr val="58635B"/>
                  </a:solidFill>
                </a:rPr>
                <a:t>NOTE:</a:t>
              </a:r>
            </a:p>
            <a:p>
              <a:pPr defTabSz="844083">
                <a:spcAft>
                  <a:spcPts val="554"/>
                </a:spcAft>
                <a:buFont typeface="+mj-lt"/>
                <a:buNone/>
                <a:defRPr/>
              </a:pPr>
              <a:r>
                <a:rPr lang="en-GB" sz="923">
                  <a:solidFill>
                    <a:srgbClr val="58635B"/>
                  </a:solidFill>
                </a:rPr>
                <a:t>If an image is already in place and you want to change it:</a:t>
              </a:r>
            </a:p>
            <a:p>
              <a:pPr marL="167058" indent="-167058" defTabSz="844083">
                <a:spcAft>
                  <a:spcPts val="554"/>
                </a:spcAft>
                <a:buFont typeface="+mj-lt"/>
                <a:buAutoNum type="arabicPeriod"/>
                <a:defRPr/>
              </a:pPr>
              <a:r>
                <a:rPr lang="en-GB" sz="923">
                  <a:solidFill>
                    <a:srgbClr val="58635B"/>
                  </a:solidFill>
                </a:rPr>
                <a:t>Select the image, and hit your delete key</a:t>
              </a:r>
            </a:p>
            <a:p>
              <a:pPr marL="167058" indent="-167058" defTabSz="844083">
                <a:spcAft>
                  <a:spcPts val="554"/>
                </a:spcAft>
                <a:buFont typeface="+mj-lt"/>
                <a:buAutoNum type="arabicPeriod"/>
                <a:defRPr/>
              </a:pPr>
              <a:r>
                <a:rPr lang="en-GB" sz="923">
                  <a:solidFill>
                    <a:srgbClr val="58635B"/>
                  </a:solidFill>
                </a:rPr>
                <a:t>Follow steps 1-4 above</a:t>
              </a:r>
            </a:p>
          </p:txBody>
        </p:sp>
        <p:pic>
          <p:nvPicPr>
            <p:cNvPr id="20" name="Picture 2"/>
            <p:cNvPicPr>
              <a:picLocks noChangeAspect="1" noChangeArrowheads="1"/>
            </p:cNvPicPr>
            <p:nvPr userDrawn="1">
              <p:custDataLst>
                <p:tags r:id="rId11"/>
              </p:custDataLst>
            </p:nvPr>
          </p:nvPicPr>
          <p:blipFill>
            <a:blip r:embed="rId16">
              <a:extLst>
                <a:ext uri="{28A0092B-C50C-407E-A947-70E740481C1C}">
                  <a14:useLocalDpi xmlns:a14="http://schemas.microsoft.com/office/drawing/2010/main" val="0"/>
                </a:ext>
              </a:extLst>
            </a:blip>
            <a:srcRect/>
            <a:stretch>
              <a:fillRect/>
            </a:stretch>
          </p:blipFill>
          <p:spPr bwMode="auto">
            <a:xfrm>
              <a:off x="10253954" y="676295"/>
              <a:ext cx="2857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1" name="Picture 36" descr="C:\Users\Hannah\AppData\Roaming\Skype\My Skype Received Files\springernature_logo_v02.emf"/>
          <p:cNvPicPr>
            <a:picLocks noChangeAspect="1" noChangeArrowheads="1"/>
          </p:cNvPicPr>
          <p:nvPr userDrawn="1">
            <p:custDataLst>
              <p:tags r:id="rId9"/>
            </p:custDataLst>
          </p:nvPr>
        </p:nvPicPr>
        <p:blipFill>
          <a:blip r:embed="rId17">
            <a:extLst>
              <a:ext uri="{28A0092B-C50C-407E-A947-70E740481C1C}">
                <a14:useLocalDpi xmlns:a14="http://schemas.microsoft.com/office/drawing/2010/main" val="0"/>
              </a:ext>
            </a:extLst>
          </a:blip>
          <a:srcRect/>
          <a:stretch>
            <a:fillRect/>
          </a:stretch>
        </p:blipFill>
        <p:spPr bwMode="auto">
          <a:xfrm>
            <a:off x="664308" y="377218"/>
            <a:ext cx="2792728"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2033285"/>
      </p:ext>
    </p:extLst>
  </p:cSld>
  <p:clrMapOvr>
    <a:masterClrMapping/>
  </p:clrMapOvr>
  <p:extLst>
    <p:ext uri="{DCECCB84-F9BA-43D5-87BE-67443E8EF086}">
      <p15:sldGuideLst xmlns:p15="http://schemas.microsoft.com/office/powerpoint/2012/main">
        <p15:guide id="1" pos="1439"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0" imgW="287" imgH="287" progId="TCLayout.ActiveDocument.1">
                  <p:embed/>
                </p:oleObj>
              </mc:Choice>
              <mc:Fallback>
                <p:oleObj name="think-cell Slide" r:id="rId10" imgW="287" imgH="287" progId="TCLayout.ActiveDocument.1">
                  <p:embed/>
                  <p:pic>
                    <p:nvPicPr>
                      <p:cNvPr id="2" name="Object 1" hidden="1"/>
                      <p:cNvPicPr/>
                      <p:nvPr/>
                    </p:nvPicPr>
                    <p:blipFill>
                      <a:blip r:embed="rId11"/>
                      <a:stretch>
                        <a:fillRect/>
                      </a:stretch>
                    </p:blipFill>
                    <p:spPr>
                      <a:xfrm>
                        <a:off x="0" y="0"/>
                        <a:ext cx="195384" cy="158750"/>
                      </a:xfrm>
                      <a:prstGeom prst="rect">
                        <a:avLst/>
                      </a:prstGeom>
                    </p:spPr>
                  </p:pic>
                </p:oleObj>
              </mc:Fallback>
            </mc:AlternateContent>
          </a:graphicData>
        </a:graphic>
      </p:graphicFrame>
      <p:sp>
        <p:nvSpPr>
          <p:cNvPr id="11" name="Rectangle 3"/>
          <p:cNvSpPr/>
          <p:nvPr userDrawn="1">
            <p:custDataLst>
              <p:tags r:id="rId2"/>
            </p:custDataLst>
          </p:nvPr>
        </p:nvSpPr>
        <p:spPr>
          <a:xfrm>
            <a:off x="657970" y="420760"/>
            <a:ext cx="11534031"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A7A9A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4" name="Freeform 6"/>
          <p:cNvSpPr>
            <a:spLocks/>
          </p:cNvSpPr>
          <p:nvPr userDrawn="1">
            <p:custDataLst>
              <p:tags r:id="rId3"/>
            </p:custDataLst>
          </p:nvPr>
        </p:nvSpPr>
        <p:spPr bwMode="auto">
          <a:xfrm>
            <a:off x="11156462" y="-1"/>
            <a:ext cx="42789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3231" numCol="1" anchor="ctr" anchorCtr="1" compatLnSpc="1">
            <a:prstTxWarp prst="textNoShape">
              <a:avLst/>
            </a:prstTxWarp>
          </a:bodyPr>
          <a:lstStyle/>
          <a:p>
            <a:pPr algn="ctr" defTabSz="805610">
              <a:defRPr/>
            </a:pPr>
            <a:fld id="{12E06541-304F-41DA-A076-D86DB9E81A9C}" type="slidenum">
              <a:rPr lang="en-GB" sz="1108" smtClean="0">
                <a:solidFill>
                  <a:srgbClr val="58635B"/>
                </a:solidFill>
              </a:rPr>
              <a:pPr algn="ctr" defTabSz="805610">
                <a:defRPr/>
              </a:pPr>
              <a:t>‹#›</a:t>
            </a:fld>
            <a:endParaRPr lang="en-GB" sz="1108">
              <a:solidFill>
                <a:srgbClr val="58635B"/>
              </a:solidFill>
            </a:endParaRPr>
          </a:p>
        </p:txBody>
      </p:sp>
      <p:sp>
        <p:nvSpPr>
          <p:cNvPr id="13" name="Text Placeholder 10"/>
          <p:cNvSpPr>
            <a:spLocks noGrp="1"/>
          </p:cNvSpPr>
          <p:nvPr>
            <p:ph type="body" sz="quarter" idx="14" hasCustomPrompt="1"/>
            <p:custDataLst>
              <p:tags r:id="rId4"/>
            </p:custDataLst>
          </p:nvPr>
        </p:nvSpPr>
        <p:spPr>
          <a:xfrm>
            <a:off x="1006622" y="4710113"/>
            <a:ext cx="2782277" cy="819150"/>
          </a:xfrm>
        </p:spPr>
        <p:txBody>
          <a:bodyPr wrap="square" anchor="b">
            <a:noAutofit/>
          </a:bodyPr>
          <a:lstStyle>
            <a:lvl1pPr>
              <a:lnSpc>
                <a:spcPct val="100000"/>
              </a:lnSpc>
              <a:spcAft>
                <a:spcPts val="0"/>
              </a:spcAft>
              <a:defRPr sz="7569" b="1">
                <a:solidFill>
                  <a:schemeClr val="bg1"/>
                </a:solidFill>
              </a:defRPr>
            </a:lvl1pPr>
          </a:lstStyle>
          <a:p>
            <a:pPr lvl="0"/>
            <a:r>
              <a:rPr lang="en-US"/>
              <a:t>#.#</a:t>
            </a:r>
          </a:p>
        </p:txBody>
      </p:sp>
      <p:sp>
        <p:nvSpPr>
          <p:cNvPr id="5" name="Title 4"/>
          <p:cNvSpPr>
            <a:spLocks noGrp="1"/>
          </p:cNvSpPr>
          <p:nvPr>
            <p:ph type="title" hasCustomPrompt="1"/>
            <p:custDataLst>
              <p:tags r:id="rId5"/>
            </p:custDataLst>
          </p:nvPr>
        </p:nvSpPr>
        <p:spPr>
          <a:xfrm>
            <a:off x="1014647" y="1052514"/>
            <a:ext cx="6439876" cy="350865"/>
          </a:xfrm>
        </p:spPr>
        <p:txBody>
          <a:bodyPr/>
          <a:lstStyle>
            <a:lvl1pPr>
              <a:lnSpc>
                <a:spcPct val="95000"/>
              </a:lnSpc>
              <a:defRPr baseline="0">
                <a:solidFill>
                  <a:schemeClr val="bg1"/>
                </a:solidFill>
              </a:defRPr>
            </a:lvl1pPr>
          </a:lstStyle>
          <a:p>
            <a:r>
              <a:rPr lang="en-US"/>
              <a:t>Chapter section title</a:t>
            </a:r>
            <a:endParaRPr lang="en-GB"/>
          </a:p>
        </p:txBody>
      </p:sp>
      <p:sp>
        <p:nvSpPr>
          <p:cNvPr id="17" name="Rectangle 16"/>
          <p:cNvSpPr/>
          <p:nvPr userDrawn="1">
            <p:custDataLst>
              <p:tags r:id="rId6"/>
            </p:custDataLst>
          </p:nvPr>
        </p:nvSpPr>
        <p:spPr>
          <a:xfrm>
            <a:off x="658709" y="829625"/>
            <a:ext cx="11533292" cy="206280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8" name="Rectangle 17"/>
          <p:cNvSpPr/>
          <p:nvPr userDrawn="1">
            <p:custDataLst>
              <p:tags r:id="rId7"/>
            </p:custDataLst>
          </p:nvPr>
        </p:nvSpPr>
        <p:spPr>
          <a:xfrm>
            <a:off x="-1" y="0"/>
            <a:ext cx="12192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pic>
        <p:nvPicPr>
          <p:cNvPr id="10" name="Picture 5"/>
          <p:cNvPicPr>
            <a:picLocks noChangeAspect="1" noChangeArrowheads="1"/>
          </p:cNvPicPr>
          <p:nvPr userDrawn="1">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9797677" y="6354774"/>
            <a:ext cx="1373539"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4091738"/>
      </p:ext>
    </p:extLst>
  </p:cSld>
  <p:clrMapOvr>
    <a:masterClrMapping/>
  </p:clrMapOvr>
  <p:extLst>
    <p:ext uri="{DCECCB84-F9BA-43D5-87BE-67443E8EF086}">
      <p15:sldGuideLst xmlns:p15="http://schemas.microsoft.com/office/powerpoint/2012/main">
        <p15:guide id="1" pos="1439"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0" imgW="287" imgH="287" progId="TCLayout.ActiveDocument.1">
                  <p:embed/>
                </p:oleObj>
              </mc:Choice>
              <mc:Fallback>
                <p:oleObj name="think-cell Slide" r:id="rId10" imgW="287" imgH="287" progId="TCLayout.ActiveDocument.1">
                  <p:embed/>
                  <p:pic>
                    <p:nvPicPr>
                      <p:cNvPr id="2" name="Object 1" hidden="1"/>
                      <p:cNvPicPr/>
                      <p:nvPr/>
                    </p:nvPicPr>
                    <p:blipFill>
                      <a:blip r:embed="rId11"/>
                      <a:stretch>
                        <a:fillRect/>
                      </a:stretch>
                    </p:blipFill>
                    <p:spPr>
                      <a:xfrm>
                        <a:off x="0" y="0"/>
                        <a:ext cx="195384" cy="158750"/>
                      </a:xfrm>
                      <a:prstGeom prst="rect">
                        <a:avLst/>
                      </a:prstGeom>
                    </p:spPr>
                  </p:pic>
                </p:oleObj>
              </mc:Fallback>
            </mc:AlternateContent>
          </a:graphicData>
        </a:graphic>
      </p:graphicFrame>
      <p:sp>
        <p:nvSpPr>
          <p:cNvPr id="11" name="Rectangle 3"/>
          <p:cNvSpPr/>
          <p:nvPr userDrawn="1">
            <p:custDataLst>
              <p:tags r:id="rId2"/>
            </p:custDataLst>
          </p:nvPr>
        </p:nvSpPr>
        <p:spPr>
          <a:xfrm>
            <a:off x="657970" y="420760"/>
            <a:ext cx="11534031"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4" name="Freeform 6"/>
          <p:cNvSpPr>
            <a:spLocks/>
          </p:cNvSpPr>
          <p:nvPr userDrawn="1">
            <p:custDataLst>
              <p:tags r:id="rId3"/>
            </p:custDataLst>
          </p:nvPr>
        </p:nvSpPr>
        <p:spPr bwMode="auto">
          <a:xfrm>
            <a:off x="11156462" y="-1"/>
            <a:ext cx="42789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3231" numCol="1" anchor="ctr" anchorCtr="1" compatLnSpc="1">
            <a:prstTxWarp prst="textNoShape">
              <a:avLst/>
            </a:prstTxWarp>
          </a:bodyPr>
          <a:lstStyle/>
          <a:p>
            <a:pPr algn="ctr" defTabSz="805610">
              <a:defRPr/>
            </a:pPr>
            <a:fld id="{12E06541-304F-41DA-A076-D86DB9E81A9C}" type="slidenum">
              <a:rPr lang="en-GB" sz="1108" smtClean="0">
                <a:solidFill>
                  <a:srgbClr val="58635B"/>
                </a:solidFill>
              </a:rPr>
              <a:pPr algn="ctr" defTabSz="805610">
                <a:defRPr/>
              </a:pPr>
              <a:t>‹#›</a:t>
            </a:fld>
            <a:endParaRPr lang="en-GB" sz="1108">
              <a:solidFill>
                <a:srgbClr val="58635B"/>
              </a:solidFill>
            </a:endParaRPr>
          </a:p>
        </p:txBody>
      </p:sp>
      <p:sp>
        <p:nvSpPr>
          <p:cNvPr id="13" name="Text Placeholder 10"/>
          <p:cNvSpPr>
            <a:spLocks noGrp="1"/>
          </p:cNvSpPr>
          <p:nvPr>
            <p:ph type="body" sz="quarter" idx="14" hasCustomPrompt="1"/>
            <p:custDataLst>
              <p:tags r:id="rId4"/>
            </p:custDataLst>
          </p:nvPr>
        </p:nvSpPr>
        <p:spPr>
          <a:xfrm>
            <a:off x="1006622" y="4710113"/>
            <a:ext cx="2782277" cy="819150"/>
          </a:xfrm>
        </p:spPr>
        <p:txBody>
          <a:bodyPr wrap="square" anchor="b">
            <a:noAutofit/>
          </a:bodyPr>
          <a:lstStyle>
            <a:lvl1pPr>
              <a:lnSpc>
                <a:spcPct val="100000"/>
              </a:lnSpc>
              <a:spcAft>
                <a:spcPts val="0"/>
              </a:spcAft>
              <a:defRPr sz="7569" b="1">
                <a:solidFill>
                  <a:schemeClr val="bg1"/>
                </a:solidFill>
              </a:defRPr>
            </a:lvl1pPr>
          </a:lstStyle>
          <a:p>
            <a:pPr lvl="0"/>
            <a:r>
              <a:rPr lang="en-US"/>
              <a:t>#.#</a:t>
            </a:r>
          </a:p>
        </p:txBody>
      </p:sp>
      <p:sp>
        <p:nvSpPr>
          <p:cNvPr id="5" name="Title 4"/>
          <p:cNvSpPr>
            <a:spLocks noGrp="1"/>
          </p:cNvSpPr>
          <p:nvPr>
            <p:ph type="title" hasCustomPrompt="1"/>
            <p:custDataLst>
              <p:tags r:id="rId5"/>
            </p:custDataLst>
          </p:nvPr>
        </p:nvSpPr>
        <p:spPr>
          <a:xfrm>
            <a:off x="1014647" y="1052514"/>
            <a:ext cx="6439876" cy="350865"/>
          </a:xfrm>
        </p:spPr>
        <p:txBody>
          <a:bodyPr/>
          <a:lstStyle>
            <a:lvl1pPr>
              <a:lnSpc>
                <a:spcPct val="95000"/>
              </a:lnSpc>
              <a:defRPr baseline="0">
                <a:solidFill>
                  <a:schemeClr val="bg1"/>
                </a:solidFill>
              </a:defRPr>
            </a:lvl1pPr>
          </a:lstStyle>
          <a:p>
            <a:r>
              <a:rPr lang="en-US"/>
              <a:t>Chapter section title</a:t>
            </a:r>
            <a:endParaRPr lang="en-GB"/>
          </a:p>
        </p:txBody>
      </p:sp>
      <p:sp>
        <p:nvSpPr>
          <p:cNvPr id="16" name="Rectangle 15"/>
          <p:cNvSpPr/>
          <p:nvPr userDrawn="1">
            <p:custDataLst>
              <p:tags r:id="rId6"/>
            </p:custDataLst>
          </p:nvPr>
        </p:nvSpPr>
        <p:spPr>
          <a:xfrm>
            <a:off x="657970" y="829625"/>
            <a:ext cx="11533292" cy="206280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8" name="Rectangle 17"/>
          <p:cNvSpPr/>
          <p:nvPr userDrawn="1">
            <p:custDataLst>
              <p:tags r:id="rId7"/>
            </p:custDataLst>
          </p:nvPr>
        </p:nvSpPr>
        <p:spPr>
          <a:xfrm>
            <a:off x="-1" y="0"/>
            <a:ext cx="12192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pic>
        <p:nvPicPr>
          <p:cNvPr id="10" name="Picture 5"/>
          <p:cNvPicPr>
            <a:picLocks noChangeAspect="1" noChangeArrowheads="1"/>
          </p:cNvPicPr>
          <p:nvPr userDrawn="1">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9797677" y="6354774"/>
            <a:ext cx="1373539"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3154646"/>
      </p:ext>
    </p:extLst>
  </p:cSld>
  <p:clrMapOvr>
    <a:masterClrMapping/>
  </p:clrMapOvr>
  <p:extLst>
    <p:ext uri="{DCECCB84-F9BA-43D5-87BE-67443E8EF086}">
      <p15:sldGuideLst xmlns:p15="http://schemas.microsoft.com/office/powerpoint/2012/main">
        <p15:guide id="1" pos="143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DD278-17FF-4E19-8F11-84E5263C69E5}"/>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D85D1002-0C55-43D9-BAF1-A4245D905692}"/>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4" name="Footer Placeholder 3">
            <a:extLst>
              <a:ext uri="{FF2B5EF4-FFF2-40B4-BE49-F238E27FC236}">
                <a16:creationId xmlns:a16="http://schemas.microsoft.com/office/drawing/2014/main" id="{CC3A35BD-8A20-4EE9-B17D-21A64C9262B6}"/>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AA82B160-31C4-4108-A194-BAB877273B06}"/>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32063304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1016001" y="1436690"/>
            <a:ext cx="10140463" cy="13716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1"/>
          <p:cNvSpPr>
            <a:spLocks noGrp="1"/>
          </p:cNvSpPr>
          <p:nvPr>
            <p:ph type="title"/>
          </p:nvPr>
        </p:nvSpPr>
        <p:spPr>
          <a:xfrm>
            <a:off x="1016001" y="397100"/>
            <a:ext cx="10140463" cy="651460"/>
          </a:xfrm>
        </p:spPr>
        <p:txBody>
          <a:bodyPr>
            <a:spAutoFit/>
          </a:bodyPr>
          <a:lstStyle/>
          <a:p>
            <a:r>
              <a:rPr lang="en-US"/>
              <a:t>Click to edit Master title style</a:t>
            </a:r>
            <a:endParaRPr lang="en-GB"/>
          </a:p>
        </p:txBody>
      </p:sp>
    </p:spTree>
    <p:extLst>
      <p:ext uri="{BB962C8B-B14F-4D97-AF65-F5344CB8AC3E}">
        <p14:creationId xmlns:p14="http://schemas.microsoft.com/office/powerpoint/2010/main" val="40876932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1015697" y="1436690"/>
            <a:ext cx="4854828" cy="13716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0"/>
          <p:cNvSpPr>
            <a:spLocks noGrp="1"/>
          </p:cNvSpPr>
          <p:nvPr>
            <p:ph type="body" sz="quarter" idx="15"/>
          </p:nvPr>
        </p:nvSpPr>
        <p:spPr>
          <a:xfrm>
            <a:off x="6301637" y="1436690"/>
            <a:ext cx="4854828" cy="13716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1"/>
          <p:cNvSpPr>
            <a:spLocks noGrp="1"/>
          </p:cNvSpPr>
          <p:nvPr>
            <p:ph type="title"/>
          </p:nvPr>
        </p:nvSpPr>
        <p:spPr>
          <a:xfrm>
            <a:off x="1016001" y="397100"/>
            <a:ext cx="10140463" cy="651460"/>
          </a:xfrm>
        </p:spPr>
        <p:txBody>
          <a:bodyPr>
            <a:spAutoFit/>
          </a:bodyPr>
          <a:lstStyle/>
          <a:p>
            <a:r>
              <a:rPr lang="en-US"/>
              <a:t>Click to edit Master title style</a:t>
            </a:r>
            <a:endParaRPr lang="en-GB"/>
          </a:p>
        </p:txBody>
      </p:sp>
    </p:spTree>
    <p:extLst>
      <p:ext uri="{BB962C8B-B14F-4D97-AF65-F5344CB8AC3E}">
        <p14:creationId xmlns:p14="http://schemas.microsoft.com/office/powerpoint/2010/main" val="18679131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1016001" y="397100"/>
            <a:ext cx="10140463" cy="651460"/>
          </a:xfrm>
        </p:spPr>
        <p:txBody>
          <a:bodyPr>
            <a:spAutoFit/>
          </a:bodyPr>
          <a:lstStyle/>
          <a:p>
            <a:r>
              <a:rPr lang="en-US"/>
              <a:t>Click to edit Master title style</a:t>
            </a:r>
            <a:endParaRPr lang="en-GB"/>
          </a:p>
        </p:txBody>
      </p:sp>
      <p:sp>
        <p:nvSpPr>
          <p:cNvPr id="8" name="Text Placeholder 10"/>
          <p:cNvSpPr>
            <a:spLocks noGrp="1"/>
          </p:cNvSpPr>
          <p:nvPr>
            <p:ph type="body" sz="quarter" idx="14"/>
          </p:nvPr>
        </p:nvSpPr>
        <p:spPr>
          <a:xfrm>
            <a:off x="1016000" y="1436689"/>
            <a:ext cx="3079261" cy="1842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0"/>
          <p:cNvSpPr>
            <a:spLocks noGrp="1"/>
          </p:cNvSpPr>
          <p:nvPr>
            <p:ph type="body" sz="quarter" idx="15"/>
          </p:nvPr>
        </p:nvSpPr>
        <p:spPr>
          <a:xfrm>
            <a:off x="4538786" y="1436689"/>
            <a:ext cx="3079261" cy="1842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0"/>
          <p:cNvSpPr>
            <a:spLocks noGrp="1"/>
          </p:cNvSpPr>
          <p:nvPr>
            <p:ph type="body" sz="quarter" idx="16"/>
          </p:nvPr>
        </p:nvSpPr>
        <p:spPr>
          <a:xfrm>
            <a:off x="8061570" y="1436689"/>
            <a:ext cx="3079261" cy="18424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630637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6291515" y="1436688"/>
            <a:ext cx="4856123" cy="255776"/>
          </a:xfrm>
          <a:solidFill>
            <a:schemeClr val="bg2"/>
          </a:solidFill>
        </p:spPr>
        <p:txBody>
          <a:bodyPr/>
          <a:lstStyle/>
          <a:p>
            <a:r>
              <a:rPr lang="en-US"/>
              <a:t>Click icon to add picture</a:t>
            </a:r>
            <a:endParaRPr lang="en-GB"/>
          </a:p>
        </p:txBody>
      </p:sp>
      <p:sp>
        <p:nvSpPr>
          <p:cNvPr id="4" name="Title 3"/>
          <p:cNvSpPr>
            <a:spLocks noGrp="1"/>
          </p:cNvSpPr>
          <p:nvPr>
            <p:ph type="title"/>
          </p:nvPr>
        </p:nvSpPr>
        <p:spPr>
          <a:xfrm>
            <a:off x="1016001" y="397100"/>
            <a:ext cx="10140463" cy="651460"/>
          </a:xfrm>
        </p:spPr>
        <p:txBody>
          <a:bodyPr>
            <a:spAutoFit/>
          </a:bodyPr>
          <a:lstStyle/>
          <a:p>
            <a:r>
              <a:rPr lang="en-US"/>
              <a:t>Click to edit Master title style</a:t>
            </a:r>
            <a:endParaRPr lang="en-GB"/>
          </a:p>
        </p:txBody>
      </p:sp>
      <p:sp>
        <p:nvSpPr>
          <p:cNvPr id="8" name="Text Placeholder 10"/>
          <p:cNvSpPr>
            <a:spLocks noGrp="1"/>
          </p:cNvSpPr>
          <p:nvPr>
            <p:ph type="body" sz="quarter" idx="14"/>
          </p:nvPr>
        </p:nvSpPr>
        <p:spPr>
          <a:xfrm>
            <a:off x="1016000" y="1436690"/>
            <a:ext cx="4856123" cy="13716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5" name="Group 4"/>
          <p:cNvGrpSpPr/>
          <p:nvPr userDrawn="1"/>
        </p:nvGrpSpPr>
        <p:grpSpPr>
          <a:xfrm>
            <a:off x="12477016" y="2364726"/>
            <a:ext cx="2903659" cy="3385201"/>
            <a:chOff x="10137575" y="14622"/>
            <a:chExt cx="2359223" cy="3385201"/>
          </a:xfrm>
        </p:grpSpPr>
        <p:sp>
          <p:nvSpPr>
            <p:cNvPr id="6" name="TextBox 5"/>
            <p:cNvSpPr txBox="1"/>
            <p:nvPr userDrawn="1">
              <p:custDataLst>
                <p:tags r:id="rId1"/>
              </p:custDataLst>
            </p:nvPr>
          </p:nvSpPr>
          <p:spPr>
            <a:xfrm>
              <a:off x="10137575" y="14622"/>
              <a:ext cx="2359223" cy="3385201"/>
            </a:xfrm>
            <a:prstGeom prst="rect">
              <a:avLst/>
            </a:prstGeom>
            <a:solidFill>
              <a:schemeClr val="bg2"/>
            </a:solidFill>
            <a:ln w="9525">
              <a:noFill/>
              <a:miter lim="800000"/>
              <a:headEnd/>
              <a:tailEnd/>
            </a:ln>
            <a:effectLst/>
          </p:spPr>
          <p:txBody>
            <a:bodyPr lIns="36000" tIns="36000" rIns="36000" bIns="36000"/>
            <a:lstStyle/>
            <a:p>
              <a:pPr defTabSz="844083">
                <a:spcAft>
                  <a:spcPts val="554"/>
                </a:spcAft>
                <a:buFont typeface="+mj-lt"/>
                <a:buNone/>
                <a:defRPr/>
              </a:pPr>
              <a:r>
                <a:rPr lang="en-GB" sz="923" b="1">
                  <a:solidFill>
                    <a:srgbClr val="58635B"/>
                  </a:solidFill>
                </a:rPr>
                <a:t>Updating image</a:t>
              </a:r>
            </a:p>
            <a:p>
              <a:pPr defTabSz="844083">
                <a:spcAft>
                  <a:spcPts val="554"/>
                </a:spcAft>
                <a:buFont typeface="+mj-lt"/>
                <a:buNone/>
                <a:defRPr/>
              </a:pPr>
              <a:r>
                <a:rPr lang="en-NZ" sz="923">
                  <a:solidFill>
                    <a:srgbClr val="58635B"/>
                  </a:solidFill>
                </a:rPr>
                <a:t>To update the background image</a:t>
              </a:r>
              <a:r>
                <a:rPr lang="en-GB" sz="923">
                  <a:solidFill>
                    <a:srgbClr val="58635B"/>
                  </a:solidFill>
                </a:rPr>
                <a:t>, click on the picture placeholder icon</a:t>
              </a:r>
            </a:p>
            <a:p>
              <a:pPr marL="158265" indent="-158265" defTabSz="844083">
                <a:spcAft>
                  <a:spcPts val="554"/>
                </a:spcAft>
                <a:buFont typeface="+mj-lt"/>
                <a:buAutoNum type="arabicPeriod"/>
                <a:defRPr/>
              </a:pPr>
              <a:endParaRPr lang="en-GB" sz="923">
                <a:solidFill>
                  <a:srgbClr val="58635B"/>
                </a:solidFill>
              </a:endParaRPr>
            </a:p>
            <a:p>
              <a:pPr marL="158265" indent="-158265" defTabSz="844083">
                <a:spcAft>
                  <a:spcPts val="554"/>
                </a:spcAft>
                <a:buFont typeface="+mj-lt"/>
                <a:buAutoNum type="arabicPeriod"/>
                <a:defRPr/>
              </a:pPr>
              <a:endParaRPr lang="en-GB" sz="923">
                <a:solidFill>
                  <a:srgbClr val="58635B"/>
                </a:solidFill>
              </a:endParaRPr>
            </a:p>
            <a:p>
              <a:pPr marL="158265" indent="-158265" defTabSz="844083">
                <a:spcAft>
                  <a:spcPts val="554"/>
                </a:spcAft>
                <a:buFont typeface="+mj-lt"/>
                <a:buAutoNum type="arabicPeriod"/>
                <a:defRPr/>
              </a:pPr>
              <a:r>
                <a:rPr lang="en-GB" sz="923">
                  <a:solidFill>
                    <a:srgbClr val="58635B"/>
                  </a:solidFill>
                </a:rPr>
                <a:t>Windows Explorer or Finder will open</a:t>
              </a:r>
            </a:p>
            <a:p>
              <a:pPr marL="158265" indent="-158265" defTabSz="844083">
                <a:spcAft>
                  <a:spcPts val="554"/>
                </a:spcAft>
                <a:buFont typeface="+mj-lt"/>
                <a:buAutoNum type="arabicPeriod"/>
                <a:defRPr/>
              </a:pPr>
              <a:r>
                <a:rPr lang="en-GB" sz="923">
                  <a:solidFill>
                    <a:srgbClr val="58635B"/>
                  </a:solidFill>
                </a:rPr>
                <a:t>Find your required image and click ‘Insert’ </a:t>
              </a:r>
            </a:p>
            <a:p>
              <a:pPr marL="158265" indent="-158265" defTabSz="844083">
                <a:spcAft>
                  <a:spcPts val="554"/>
                </a:spcAft>
                <a:buFont typeface="+mj-lt"/>
                <a:buAutoNum type="arabicPeriod"/>
                <a:defRPr/>
              </a:pPr>
              <a:r>
                <a:rPr lang="en-GB" sz="923">
                  <a:solidFill>
                    <a:srgbClr val="58635B"/>
                  </a:solidFill>
                </a:rPr>
                <a:t>When cover image inserted, right-click in the grey area directly below this text box and select ‘Reset slide’</a:t>
              </a:r>
            </a:p>
            <a:p>
              <a:pPr defTabSz="844083">
                <a:spcAft>
                  <a:spcPts val="554"/>
                </a:spcAft>
                <a:buFont typeface="+mj-lt"/>
                <a:buNone/>
                <a:defRPr/>
              </a:pPr>
              <a:r>
                <a:rPr lang="en-GB" sz="923">
                  <a:solidFill>
                    <a:srgbClr val="58635B"/>
                  </a:solidFill>
                </a:rPr>
                <a:t>NOTE:</a:t>
              </a:r>
            </a:p>
            <a:p>
              <a:pPr defTabSz="844083">
                <a:spcAft>
                  <a:spcPts val="554"/>
                </a:spcAft>
                <a:buFont typeface="+mj-lt"/>
                <a:buNone/>
                <a:defRPr/>
              </a:pPr>
              <a:r>
                <a:rPr lang="en-GB" sz="923">
                  <a:solidFill>
                    <a:srgbClr val="58635B"/>
                  </a:solidFill>
                </a:rPr>
                <a:t>If an image is already in place and you want to change it:</a:t>
              </a:r>
            </a:p>
            <a:p>
              <a:pPr marL="167058" indent="-167058" defTabSz="844083">
                <a:spcAft>
                  <a:spcPts val="554"/>
                </a:spcAft>
                <a:buFont typeface="+mj-lt"/>
                <a:buAutoNum type="arabicPeriod"/>
                <a:defRPr/>
              </a:pPr>
              <a:r>
                <a:rPr lang="en-GB" sz="923">
                  <a:solidFill>
                    <a:srgbClr val="58635B"/>
                  </a:solidFill>
                </a:rPr>
                <a:t>Select the image, and hit your delete key</a:t>
              </a:r>
            </a:p>
            <a:p>
              <a:pPr marL="167058" indent="-167058" defTabSz="844083">
                <a:spcAft>
                  <a:spcPts val="554"/>
                </a:spcAft>
                <a:buFont typeface="+mj-lt"/>
                <a:buAutoNum type="arabicPeriod"/>
                <a:defRPr/>
              </a:pPr>
              <a:r>
                <a:rPr lang="en-GB" sz="923">
                  <a:solidFill>
                    <a:srgbClr val="58635B"/>
                  </a:solidFill>
                </a:rPr>
                <a:t>Follow steps 1-4 above</a:t>
              </a:r>
            </a:p>
          </p:txBody>
        </p:sp>
        <p:pic>
          <p:nvPicPr>
            <p:cNvPr id="7" name="Picture 2"/>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0253954" y="676295"/>
              <a:ext cx="2857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0900269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5"/>
          <p:cNvSpPr>
            <a:spLocks noGrp="1"/>
          </p:cNvSpPr>
          <p:nvPr>
            <p:ph type="title"/>
          </p:nvPr>
        </p:nvSpPr>
        <p:spPr>
          <a:xfrm>
            <a:off x="1016001" y="397100"/>
            <a:ext cx="10140463" cy="651460"/>
          </a:xfrm>
        </p:spPr>
        <p:txBody>
          <a:bodyPr>
            <a:spAutoFit/>
          </a:bodyPr>
          <a:lstStyle/>
          <a:p>
            <a:r>
              <a:rPr lang="en-US"/>
              <a:t>Click to edit Master title style</a:t>
            </a:r>
            <a:endParaRPr lang="en-GB"/>
          </a:p>
        </p:txBody>
      </p:sp>
    </p:spTree>
    <p:extLst>
      <p:ext uri="{BB962C8B-B14F-4D97-AF65-F5344CB8AC3E}">
        <p14:creationId xmlns:p14="http://schemas.microsoft.com/office/powerpoint/2010/main" val="30563783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tatement/quo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7" imgW="287" imgH="287" progId="TCLayout.ActiveDocument.1">
                  <p:embed/>
                </p:oleObj>
              </mc:Choice>
              <mc:Fallback>
                <p:oleObj name="think-cell Slide" r:id="rId7" imgW="287" imgH="287" progId="TCLayout.ActiveDocument.1">
                  <p:embed/>
                  <p:pic>
                    <p:nvPicPr>
                      <p:cNvPr id="6" name="Object 5" hidden="1"/>
                      <p:cNvPicPr/>
                      <p:nvPr/>
                    </p:nvPicPr>
                    <p:blipFill>
                      <a:blip r:embed="rId8"/>
                      <a:stretch>
                        <a:fillRect/>
                      </a:stretch>
                    </p:blipFill>
                    <p:spPr>
                      <a:xfrm>
                        <a:off x="0" y="0"/>
                        <a:ext cx="195384" cy="158750"/>
                      </a:xfrm>
                      <a:prstGeom prst="rect">
                        <a:avLst/>
                      </a:prstGeom>
                    </p:spPr>
                  </p:pic>
                </p:oleObj>
              </mc:Fallback>
            </mc:AlternateContent>
          </a:graphicData>
        </a:graphic>
      </p:graphicFrame>
      <p:sp>
        <p:nvSpPr>
          <p:cNvPr id="13" name="Rectangle 3"/>
          <p:cNvSpPr/>
          <p:nvPr userDrawn="1">
            <p:custDataLst>
              <p:tags r:id="rId2"/>
            </p:custDataLst>
          </p:nvPr>
        </p:nvSpPr>
        <p:spPr>
          <a:xfrm>
            <a:off x="657970" y="-13580"/>
            <a:ext cx="11562167" cy="610671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6110526"/>
              <a:gd name="connsiteX1" fmla="*/ 9371400 w 9371400"/>
              <a:gd name="connsiteY1" fmla="*/ 15240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110526"/>
              <a:gd name="connsiteX1" fmla="*/ 9371400 w 9371400"/>
              <a:gd name="connsiteY1" fmla="*/ 1905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096012"/>
              <a:gd name="connsiteX1" fmla="*/ 9371400 w 9371400"/>
              <a:gd name="connsiteY1" fmla="*/ 4536 h 6096012"/>
              <a:gd name="connsiteX2" fmla="*/ 9371400 w 9371400"/>
              <a:gd name="connsiteY2" fmla="*/ 3641500 h 6096012"/>
              <a:gd name="connsiteX3" fmla="*/ 773906 w 9371400"/>
              <a:gd name="connsiteY3" fmla="*/ 6074341 h 6096012"/>
              <a:gd name="connsiteX4" fmla="*/ 535782 w 9371400"/>
              <a:gd name="connsiteY4" fmla="*/ 6091804 h 6096012"/>
              <a:gd name="connsiteX5" fmla="*/ 198438 w 9371400"/>
              <a:gd name="connsiteY5" fmla="*/ 5930674 h 6096012"/>
              <a:gd name="connsiteX6" fmla="*/ 0 w 9371400"/>
              <a:gd name="connsiteY6" fmla="*/ 5460775 h 6096012"/>
              <a:gd name="connsiteX7" fmla="*/ 0 w 9371400"/>
              <a:gd name="connsiteY7" fmla="*/ 0 h 6096012"/>
              <a:gd name="connsiteX0" fmla="*/ 0 w 9371400"/>
              <a:gd name="connsiteY0" fmla="*/ 18324 h 6114336"/>
              <a:gd name="connsiteX1" fmla="*/ 9356160 w 9371400"/>
              <a:gd name="connsiteY1" fmla="*/ 0 h 6114336"/>
              <a:gd name="connsiteX2" fmla="*/ 9371400 w 9371400"/>
              <a:gd name="connsiteY2" fmla="*/ 3659824 h 6114336"/>
              <a:gd name="connsiteX3" fmla="*/ 773906 w 9371400"/>
              <a:gd name="connsiteY3" fmla="*/ 6092665 h 6114336"/>
              <a:gd name="connsiteX4" fmla="*/ 535782 w 9371400"/>
              <a:gd name="connsiteY4" fmla="*/ 6110128 h 6114336"/>
              <a:gd name="connsiteX5" fmla="*/ 198438 w 9371400"/>
              <a:gd name="connsiteY5" fmla="*/ 5948998 h 6114336"/>
              <a:gd name="connsiteX6" fmla="*/ 0 w 9371400"/>
              <a:gd name="connsiteY6" fmla="*/ 5479099 h 6114336"/>
              <a:gd name="connsiteX7" fmla="*/ 0 w 9371400"/>
              <a:gd name="connsiteY7" fmla="*/ 18324 h 6114336"/>
              <a:gd name="connsiteX0" fmla="*/ 0 w 9386640"/>
              <a:gd name="connsiteY0" fmla="*/ 18324 h 6114336"/>
              <a:gd name="connsiteX1" fmla="*/ 9386640 w 9386640"/>
              <a:gd name="connsiteY1" fmla="*/ 0 h 6114336"/>
              <a:gd name="connsiteX2" fmla="*/ 9371400 w 9386640"/>
              <a:gd name="connsiteY2" fmla="*/ 3659824 h 6114336"/>
              <a:gd name="connsiteX3" fmla="*/ 773906 w 9386640"/>
              <a:gd name="connsiteY3" fmla="*/ 6092665 h 6114336"/>
              <a:gd name="connsiteX4" fmla="*/ 535782 w 9386640"/>
              <a:gd name="connsiteY4" fmla="*/ 6110128 h 6114336"/>
              <a:gd name="connsiteX5" fmla="*/ 198438 w 9386640"/>
              <a:gd name="connsiteY5" fmla="*/ 5948998 h 6114336"/>
              <a:gd name="connsiteX6" fmla="*/ 0 w 9386640"/>
              <a:gd name="connsiteY6" fmla="*/ 5479099 h 6114336"/>
              <a:gd name="connsiteX7" fmla="*/ 0 w 9386640"/>
              <a:gd name="connsiteY7" fmla="*/ 18324 h 6114336"/>
              <a:gd name="connsiteX0" fmla="*/ 0 w 9394260"/>
              <a:gd name="connsiteY0" fmla="*/ 10704 h 6106716"/>
              <a:gd name="connsiteX1" fmla="*/ 9394260 w 9394260"/>
              <a:gd name="connsiteY1" fmla="*/ 0 h 6106716"/>
              <a:gd name="connsiteX2" fmla="*/ 9371400 w 9394260"/>
              <a:gd name="connsiteY2" fmla="*/ 3652204 h 6106716"/>
              <a:gd name="connsiteX3" fmla="*/ 773906 w 9394260"/>
              <a:gd name="connsiteY3" fmla="*/ 6085045 h 6106716"/>
              <a:gd name="connsiteX4" fmla="*/ 535782 w 9394260"/>
              <a:gd name="connsiteY4" fmla="*/ 6102508 h 6106716"/>
              <a:gd name="connsiteX5" fmla="*/ 198438 w 9394260"/>
              <a:gd name="connsiteY5" fmla="*/ 5941378 h 6106716"/>
              <a:gd name="connsiteX6" fmla="*/ 0 w 9394260"/>
              <a:gd name="connsiteY6" fmla="*/ 5471479 h 6106716"/>
              <a:gd name="connsiteX7" fmla="*/ 0 w 9394260"/>
              <a:gd name="connsiteY7" fmla="*/ 10704 h 610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4260" h="6106716">
                <a:moveTo>
                  <a:pt x="0" y="10704"/>
                </a:moveTo>
                <a:lnTo>
                  <a:pt x="9394260" y="0"/>
                </a:lnTo>
                <a:lnTo>
                  <a:pt x="9371400" y="3652204"/>
                </a:lnTo>
                <a:lnTo>
                  <a:pt x="773906" y="6085045"/>
                </a:lnTo>
                <a:cubicBezTo>
                  <a:pt x="728663" y="6090072"/>
                  <a:pt x="626930" y="6116927"/>
                  <a:pt x="535782" y="6102508"/>
                </a:cubicBezTo>
                <a:cubicBezTo>
                  <a:pt x="444634" y="6088089"/>
                  <a:pt x="337741" y="6065600"/>
                  <a:pt x="198438" y="5941378"/>
                </a:cubicBezTo>
                <a:cubicBezTo>
                  <a:pt x="59135" y="5817156"/>
                  <a:pt x="3016" y="5583293"/>
                  <a:pt x="0" y="5471479"/>
                </a:cubicBezTo>
                <a:lnTo>
                  <a:pt x="0" y="10704"/>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6" name="Freeform 6"/>
          <p:cNvSpPr>
            <a:spLocks/>
          </p:cNvSpPr>
          <p:nvPr userDrawn="1">
            <p:custDataLst>
              <p:tags r:id="rId3"/>
            </p:custDataLst>
          </p:nvPr>
        </p:nvSpPr>
        <p:spPr bwMode="auto">
          <a:xfrm>
            <a:off x="11156462" y="-1"/>
            <a:ext cx="42789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3231" numCol="1" anchor="ctr" anchorCtr="1" compatLnSpc="1">
            <a:prstTxWarp prst="textNoShape">
              <a:avLst/>
            </a:prstTxWarp>
          </a:bodyPr>
          <a:lstStyle/>
          <a:p>
            <a:pPr algn="ctr" defTabSz="805610">
              <a:defRPr/>
            </a:pPr>
            <a:fld id="{12E06541-304F-41DA-A076-D86DB9E81A9C}" type="slidenum">
              <a:rPr lang="en-GB" sz="1108" smtClean="0">
                <a:solidFill>
                  <a:srgbClr val="58635B"/>
                </a:solidFill>
              </a:rPr>
              <a:pPr algn="ctr" defTabSz="805610">
                <a:defRPr/>
              </a:pPr>
              <a:t>‹#›</a:t>
            </a:fld>
            <a:endParaRPr lang="en-GB" sz="1108">
              <a:solidFill>
                <a:srgbClr val="58635B"/>
              </a:solidFill>
            </a:endParaRPr>
          </a:p>
        </p:txBody>
      </p:sp>
      <p:sp>
        <p:nvSpPr>
          <p:cNvPr id="3" name="Title 2"/>
          <p:cNvSpPr>
            <a:spLocks noGrp="1"/>
          </p:cNvSpPr>
          <p:nvPr>
            <p:ph type="title" hasCustomPrompt="1"/>
            <p:custDataLst>
              <p:tags r:id="rId4"/>
            </p:custDataLst>
          </p:nvPr>
        </p:nvSpPr>
        <p:spPr/>
        <p:txBody>
          <a:bodyPr/>
          <a:lstStyle>
            <a:lvl1pPr>
              <a:defRPr baseline="0"/>
            </a:lvl1pPr>
          </a:lstStyle>
          <a:p>
            <a:r>
              <a:rPr lang="en-US"/>
              <a:t>Statement/quote slide</a:t>
            </a:r>
            <a:endParaRPr lang="en-GB"/>
          </a:p>
        </p:txBody>
      </p:sp>
      <p:sp>
        <p:nvSpPr>
          <p:cNvPr id="5" name="Text Placeholder 4"/>
          <p:cNvSpPr>
            <a:spLocks noGrp="1"/>
          </p:cNvSpPr>
          <p:nvPr>
            <p:ph type="body" sz="quarter" idx="10" hasCustomPrompt="1"/>
            <p:custDataLst>
              <p:tags r:id="rId5"/>
            </p:custDataLst>
          </p:nvPr>
        </p:nvSpPr>
        <p:spPr>
          <a:xfrm>
            <a:off x="1016000" y="1444626"/>
            <a:ext cx="9127384" cy="1253933"/>
          </a:xfrm>
        </p:spPr>
        <p:txBody>
          <a:bodyPr/>
          <a:lstStyle>
            <a:lvl1pPr>
              <a:defRPr b="0"/>
            </a:lvl1pPr>
            <a:lvl2pPr marL="202228" indent="-202228">
              <a:buClr>
                <a:schemeClr val="tx2"/>
              </a:buClr>
              <a:buFont typeface="Calibri" panose="020F0502020204030204" pitchFamily="34" charset="0"/>
              <a:buChar char="•"/>
              <a:defRPr baseline="0"/>
            </a:lvl2pPr>
            <a:lvl3pPr marL="411784" indent="-205159">
              <a:defRPr baseline="0"/>
            </a:lvl3pPr>
            <a:lvl4pPr marL="0" indent="0">
              <a:buNone/>
              <a:defRPr b="1"/>
            </a:lvl4pPr>
          </a:lstStyle>
          <a:p>
            <a:pPr lvl="0"/>
            <a:r>
              <a:rPr lang="en-US"/>
              <a:t>Statement/quote text</a:t>
            </a:r>
          </a:p>
          <a:p>
            <a:pPr lvl="1"/>
            <a:r>
              <a:rPr lang="en-US"/>
              <a:t>Bullet level 1</a:t>
            </a:r>
          </a:p>
          <a:p>
            <a:pPr lvl="2"/>
            <a:r>
              <a:rPr lang="en-US"/>
              <a:t>Bullet level 2</a:t>
            </a:r>
          </a:p>
          <a:p>
            <a:pPr lvl="3"/>
            <a:r>
              <a:rPr lang="en-US"/>
              <a:t>Author of statement</a:t>
            </a:r>
            <a:endParaRPr lang="en-GB"/>
          </a:p>
        </p:txBody>
      </p:sp>
    </p:spTree>
    <p:extLst>
      <p:ext uri="{BB962C8B-B14F-4D97-AF65-F5344CB8AC3E}">
        <p14:creationId xmlns:p14="http://schemas.microsoft.com/office/powerpoint/2010/main" val="2283602338"/>
      </p:ext>
    </p:extLst>
  </p:cSld>
  <p:clrMapOvr>
    <a:masterClrMapping/>
  </p:clrMapOvr>
  <p:extLst>
    <p:ext uri="{DCECCB84-F9BA-43D5-87BE-67443E8EF086}">
      <p15:sldGuideLst xmlns:p15="http://schemas.microsoft.com/office/powerpoint/2012/main">
        <p15:guide id="1" pos="1439"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ckpag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0" imgW="287" imgH="287" progId="TCLayout.ActiveDocument.1">
                  <p:embed/>
                </p:oleObj>
              </mc:Choice>
              <mc:Fallback>
                <p:oleObj name="think-cell Slide" r:id="rId10" imgW="287" imgH="287" progId="TCLayout.ActiveDocument.1">
                  <p:embed/>
                  <p:pic>
                    <p:nvPicPr>
                      <p:cNvPr id="6" name="Object 5" hidden="1"/>
                      <p:cNvPicPr/>
                      <p:nvPr/>
                    </p:nvPicPr>
                    <p:blipFill>
                      <a:blip r:embed="rId11"/>
                      <a:stretch>
                        <a:fillRect/>
                      </a:stretch>
                    </p:blipFill>
                    <p:spPr>
                      <a:xfrm>
                        <a:off x="0" y="0"/>
                        <a:ext cx="195384" cy="158750"/>
                      </a:xfrm>
                      <a:prstGeom prst="rect">
                        <a:avLst/>
                      </a:prstGeom>
                    </p:spPr>
                  </p:pic>
                </p:oleObj>
              </mc:Fallback>
            </mc:AlternateContent>
          </a:graphicData>
        </a:graphic>
      </p:graphicFrame>
      <p:sp>
        <p:nvSpPr>
          <p:cNvPr id="9" name="Rectangle 8"/>
          <p:cNvSpPr/>
          <p:nvPr userDrawn="1">
            <p:custDataLst>
              <p:tags r:id="rId2"/>
            </p:custDataLst>
          </p:nvPr>
        </p:nvSpPr>
        <p:spPr>
          <a:xfrm>
            <a:off x="9472247" y="6092827"/>
            <a:ext cx="2297723" cy="612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3" name="Rectangle 3"/>
          <p:cNvSpPr/>
          <p:nvPr userDrawn="1">
            <p:custDataLst>
              <p:tags r:id="rId3"/>
            </p:custDataLst>
          </p:nvPr>
        </p:nvSpPr>
        <p:spPr>
          <a:xfrm>
            <a:off x="657970" y="-13580"/>
            <a:ext cx="11562167" cy="610671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6110526"/>
              <a:gd name="connsiteX1" fmla="*/ 9371400 w 9371400"/>
              <a:gd name="connsiteY1" fmla="*/ 15240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110526"/>
              <a:gd name="connsiteX1" fmla="*/ 9371400 w 9371400"/>
              <a:gd name="connsiteY1" fmla="*/ 1905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096012"/>
              <a:gd name="connsiteX1" fmla="*/ 9371400 w 9371400"/>
              <a:gd name="connsiteY1" fmla="*/ 4536 h 6096012"/>
              <a:gd name="connsiteX2" fmla="*/ 9371400 w 9371400"/>
              <a:gd name="connsiteY2" fmla="*/ 3641500 h 6096012"/>
              <a:gd name="connsiteX3" fmla="*/ 773906 w 9371400"/>
              <a:gd name="connsiteY3" fmla="*/ 6074341 h 6096012"/>
              <a:gd name="connsiteX4" fmla="*/ 535782 w 9371400"/>
              <a:gd name="connsiteY4" fmla="*/ 6091804 h 6096012"/>
              <a:gd name="connsiteX5" fmla="*/ 198438 w 9371400"/>
              <a:gd name="connsiteY5" fmla="*/ 5930674 h 6096012"/>
              <a:gd name="connsiteX6" fmla="*/ 0 w 9371400"/>
              <a:gd name="connsiteY6" fmla="*/ 5460775 h 6096012"/>
              <a:gd name="connsiteX7" fmla="*/ 0 w 9371400"/>
              <a:gd name="connsiteY7" fmla="*/ 0 h 6096012"/>
              <a:gd name="connsiteX0" fmla="*/ 0 w 9371400"/>
              <a:gd name="connsiteY0" fmla="*/ 18324 h 6114336"/>
              <a:gd name="connsiteX1" fmla="*/ 9356160 w 9371400"/>
              <a:gd name="connsiteY1" fmla="*/ 0 h 6114336"/>
              <a:gd name="connsiteX2" fmla="*/ 9371400 w 9371400"/>
              <a:gd name="connsiteY2" fmla="*/ 3659824 h 6114336"/>
              <a:gd name="connsiteX3" fmla="*/ 773906 w 9371400"/>
              <a:gd name="connsiteY3" fmla="*/ 6092665 h 6114336"/>
              <a:gd name="connsiteX4" fmla="*/ 535782 w 9371400"/>
              <a:gd name="connsiteY4" fmla="*/ 6110128 h 6114336"/>
              <a:gd name="connsiteX5" fmla="*/ 198438 w 9371400"/>
              <a:gd name="connsiteY5" fmla="*/ 5948998 h 6114336"/>
              <a:gd name="connsiteX6" fmla="*/ 0 w 9371400"/>
              <a:gd name="connsiteY6" fmla="*/ 5479099 h 6114336"/>
              <a:gd name="connsiteX7" fmla="*/ 0 w 9371400"/>
              <a:gd name="connsiteY7" fmla="*/ 18324 h 6114336"/>
              <a:gd name="connsiteX0" fmla="*/ 0 w 9386640"/>
              <a:gd name="connsiteY0" fmla="*/ 18324 h 6114336"/>
              <a:gd name="connsiteX1" fmla="*/ 9386640 w 9386640"/>
              <a:gd name="connsiteY1" fmla="*/ 0 h 6114336"/>
              <a:gd name="connsiteX2" fmla="*/ 9371400 w 9386640"/>
              <a:gd name="connsiteY2" fmla="*/ 3659824 h 6114336"/>
              <a:gd name="connsiteX3" fmla="*/ 773906 w 9386640"/>
              <a:gd name="connsiteY3" fmla="*/ 6092665 h 6114336"/>
              <a:gd name="connsiteX4" fmla="*/ 535782 w 9386640"/>
              <a:gd name="connsiteY4" fmla="*/ 6110128 h 6114336"/>
              <a:gd name="connsiteX5" fmla="*/ 198438 w 9386640"/>
              <a:gd name="connsiteY5" fmla="*/ 5948998 h 6114336"/>
              <a:gd name="connsiteX6" fmla="*/ 0 w 9386640"/>
              <a:gd name="connsiteY6" fmla="*/ 5479099 h 6114336"/>
              <a:gd name="connsiteX7" fmla="*/ 0 w 9386640"/>
              <a:gd name="connsiteY7" fmla="*/ 18324 h 6114336"/>
              <a:gd name="connsiteX0" fmla="*/ 0 w 9394260"/>
              <a:gd name="connsiteY0" fmla="*/ 10704 h 6106716"/>
              <a:gd name="connsiteX1" fmla="*/ 9394260 w 9394260"/>
              <a:gd name="connsiteY1" fmla="*/ 0 h 6106716"/>
              <a:gd name="connsiteX2" fmla="*/ 9371400 w 9394260"/>
              <a:gd name="connsiteY2" fmla="*/ 3652204 h 6106716"/>
              <a:gd name="connsiteX3" fmla="*/ 773906 w 9394260"/>
              <a:gd name="connsiteY3" fmla="*/ 6085045 h 6106716"/>
              <a:gd name="connsiteX4" fmla="*/ 535782 w 9394260"/>
              <a:gd name="connsiteY4" fmla="*/ 6102508 h 6106716"/>
              <a:gd name="connsiteX5" fmla="*/ 198438 w 9394260"/>
              <a:gd name="connsiteY5" fmla="*/ 5941378 h 6106716"/>
              <a:gd name="connsiteX6" fmla="*/ 0 w 9394260"/>
              <a:gd name="connsiteY6" fmla="*/ 5471479 h 6106716"/>
              <a:gd name="connsiteX7" fmla="*/ 0 w 9394260"/>
              <a:gd name="connsiteY7" fmla="*/ 10704 h 610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4260" h="6106716">
                <a:moveTo>
                  <a:pt x="0" y="10704"/>
                </a:moveTo>
                <a:lnTo>
                  <a:pt x="9394260" y="0"/>
                </a:lnTo>
                <a:lnTo>
                  <a:pt x="9371400" y="3652204"/>
                </a:lnTo>
                <a:lnTo>
                  <a:pt x="773906" y="6085045"/>
                </a:lnTo>
                <a:cubicBezTo>
                  <a:pt x="728663" y="6090072"/>
                  <a:pt x="626930" y="6116927"/>
                  <a:pt x="535782" y="6102508"/>
                </a:cubicBezTo>
                <a:cubicBezTo>
                  <a:pt x="444634" y="6088089"/>
                  <a:pt x="337741" y="6065600"/>
                  <a:pt x="198438" y="5941378"/>
                </a:cubicBezTo>
                <a:cubicBezTo>
                  <a:pt x="59135" y="5817156"/>
                  <a:pt x="3016" y="5583293"/>
                  <a:pt x="0" y="5471479"/>
                </a:cubicBezTo>
                <a:lnTo>
                  <a:pt x="0" y="10704"/>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nchorCtr="1"/>
          <a:lstStyle/>
          <a:p>
            <a:pPr algn="ctr" defTabSz="844083">
              <a:defRPr/>
            </a:pPr>
            <a:endParaRPr lang="en-GB" sz="1292">
              <a:solidFill>
                <a:srgbClr val="FFFFFF"/>
              </a:solidFill>
            </a:endParaRPr>
          </a:p>
        </p:txBody>
      </p:sp>
      <p:sp>
        <p:nvSpPr>
          <p:cNvPr id="16" name="Freeform 6"/>
          <p:cNvSpPr>
            <a:spLocks/>
          </p:cNvSpPr>
          <p:nvPr userDrawn="1">
            <p:custDataLst>
              <p:tags r:id="rId4"/>
            </p:custDataLst>
          </p:nvPr>
        </p:nvSpPr>
        <p:spPr bwMode="auto">
          <a:xfrm>
            <a:off x="11156462" y="-1"/>
            <a:ext cx="42789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3231" numCol="1" anchor="ctr" anchorCtr="1" compatLnSpc="1">
            <a:prstTxWarp prst="textNoShape">
              <a:avLst/>
            </a:prstTxWarp>
          </a:bodyPr>
          <a:lstStyle/>
          <a:p>
            <a:pPr algn="ctr" defTabSz="805610">
              <a:defRPr/>
            </a:pPr>
            <a:fld id="{12E06541-304F-41DA-A076-D86DB9E81A9C}" type="slidenum">
              <a:rPr lang="en-GB" sz="1108" smtClean="0">
                <a:solidFill>
                  <a:srgbClr val="58635B"/>
                </a:solidFill>
              </a:rPr>
              <a:pPr algn="ctr" defTabSz="805610">
                <a:defRPr/>
              </a:pPr>
              <a:t>‹#›</a:t>
            </a:fld>
            <a:endParaRPr lang="en-GB" sz="1108">
              <a:solidFill>
                <a:srgbClr val="58635B"/>
              </a:solidFill>
            </a:endParaRPr>
          </a:p>
        </p:txBody>
      </p:sp>
      <p:sp>
        <p:nvSpPr>
          <p:cNvPr id="3" name="Title 2"/>
          <p:cNvSpPr>
            <a:spLocks noGrp="1"/>
          </p:cNvSpPr>
          <p:nvPr>
            <p:ph type="title" hasCustomPrompt="1"/>
            <p:custDataLst>
              <p:tags r:id="rId5"/>
            </p:custDataLst>
          </p:nvPr>
        </p:nvSpPr>
        <p:spPr>
          <a:xfrm>
            <a:off x="1016002" y="500063"/>
            <a:ext cx="10140463" cy="511358"/>
          </a:xfrm>
        </p:spPr>
        <p:txBody>
          <a:bodyPr/>
          <a:lstStyle>
            <a:lvl1pPr>
              <a:defRPr sz="3323" baseline="0">
                <a:solidFill>
                  <a:schemeClr val="bg1"/>
                </a:solidFill>
              </a:defRPr>
            </a:lvl1pPr>
          </a:lstStyle>
          <a:p>
            <a:r>
              <a:rPr lang="en-US"/>
              <a:t>Thank you</a:t>
            </a:r>
            <a:endParaRPr lang="en-GB"/>
          </a:p>
        </p:txBody>
      </p:sp>
      <p:sp>
        <p:nvSpPr>
          <p:cNvPr id="5" name="Text Placeholder 4"/>
          <p:cNvSpPr>
            <a:spLocks noGrp="1"/>
          </p:cNvSpPr>
          <p:nvPr>
            <p:ph type="body" sz="quarter" idx="10" hasCustomPrompt="1"/>
            <p:custDataLst>
              <p:tags r:id="rId6"/>
            </p:custDataLst>
          </p:nvPr>
        </p:nvSpPr>
        <p:spPr>
          <a:xfrm>
            <a:off x="1016000" y="1444625"/>
            <a:ext cx="9127384" cy="1042080"/>
          </a:xfrm>
        </p:spPr>
        <p:txBody>
          <a:bodyPr/>
          <a:lstStyle>
            <a:lvl1pPr>
              <a:spcAft>
                <a:spcPts val="1108"/>
              </a:spcAft>
              <a:defRPr sz="2031" b="0">
                <a:solidFill>
                  <a:srgbClr val="FFFFFF"/>
                </a:solidFill>
              </a:defRPr>
            </a:lvl1pPr>
            <a:lvl2pPr marL="0" indent="0">
              <a:buClr>
                <a:schemeClr val="accent3"/>
              </a:buClr>
              <a:buFont typeface="Calibri" panose="020F0502020204030204" pitchFamily="34" charset="0"/>
              <a:buNone/>
              <a:defRPr sz="1662" baseline="0">
                <a:solidFill>
                  <a:srgbClr val="FFFFFF"/>
                </a:solidFill>
              </a:defRPr>
            </a:lvl2pPr>
            <a:lvl3pPr marL="205159" indent="-205159">
              <a:buClr>
                <a:srgbClr val="FFFFFF"/>
              </a:buClr>
              <a:defRPr sz="1662" baseline="0">
                <a:solidFill>
                  <a:srgbClr val="FFFFFF"/>
                </a:solidFill>
              </a:defRPr>
            </a:lvl3pPr>
            <a:lvl4pPr marL="0" indent="0">
              <a:buNone/>
              <a:defRPr sz="1477" b="1">
                <a:solidFill>
                  <a:schemeClr val="bg1"/>
                </a:solidFill>
              </a:defRPr>
            </a:lvl4pPr>
          </a:lstStyle>
          <a:p>
            <a:pPr lvl="0"/>
            <a:r>
              <a:rPr lang="en-US"/>
              <a:t>Statement/quote text</a:t>
            </a:r>
          </a:p>
          <a:p>
            <a:pPr lvl="1"/>
            <a:r>
              <a:rPr lang="en-US"/>
              <a:t>Body text</a:t>
            </a:r>
          </a:p>
          <a:p>
            <a:pPr lvl="2"/>
            <a:r>
              <a:rPr lang="en-US"/>
              <a:t>Bullet level 1</a:t>
            </a:r>
          </a:p>
        </p:txBody>
      </p:sp>
      <p:pic>
        <p:nvPicPr>
          <p:cNvPr id="17" name="Picture 5"/>
          <p:cNvPicPr>
            <a:picLocks noChangeAspect="1" noChangeArrowheads="1"/>
          </p:cNvPicPr>
          <p:nvPr userDrawn="1">
            <p:custDataLst>
              <p:tags r:id="rId7"/>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877910" y="6100179"/>
            <a:ext cx="3706444"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18"/>
          <p:cNvSpPr/>
          <p:nvPr userDrawn="1">
            <p:custDataLst>
              <p:tags r:id="rId8"/>
            </p:custDataLst>
          </p:nvPr>
        </p:nvSpPr>
        <p:spPr bwMode="auto">
          <a:xfrm>
            <a:off x="12477017" y="2"/>
            <a:ext cx="2903659" cy="20639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9082" tIns="79082" rIns="79082" bIns="79082" numCol="1" rtlCol="0" anchor="t" anchorCtr="0" compatLnSpc="1">
            <a:prstTxWarp prst="textNoShape">
              <a:avLst/>
            </a:prstTxWarp>
          </a:bodyPr>
          <a:lstStyle/>
          <a:p>
            <a:pPr defTabSz="844083">
              <a:defRPr/>
            </a:pPr>
            <a:r>
              <a:rPr lang="en-US" sz="969" b="1">
                <a:solidFill>
                  <a:srgbClr val="58635B"/>
                </a:solidFill>
              </a:rPr>
              <a:t>Updating footer</a:t>
            </a:r>
          </a:p>
          <a:p>
            <a:pPr defTabSz="844083">
              <a:defRPr/>
            </a:pPr>
            <a:r>
              <a:rPr lang="en-US" sz="969">
                <a:solidFill>
                  <a:srgbClr val="58635B"/>
                </a:solidFill>
              </a:rPr>
              <a:t>To update the footer:</a:t>
            </a:r>
          </a:p>
          <a:p>
            <a:pPr marL="164127" indent="-164127" defTabSz="844083">
              <a:buFont typeface="Arial" panose="020B0604020202020204" pitchFamily="34" charset="0"/>
              <a:buChar char="•"/>
              <a:defRPr/>
            </a:pPr>
            <a:r>
              <a:rPr lang="en-US" sz="969">
                <a:solidFill>
                  <a:srgbClr val="58635B"/>
                </a:solidFill>
              </a:rPr>
              <a:t>Click into the text box on the slide master page and update the information</a:t>
            </a:r>
          </a:p>
          <a:p>
            <a:pPr defTabSz="805610">
              <a:buFont typeface="Arial" panose="020B0604020202020204" pitchFamily="34" charset="0"/>
              <a:buNone/>
              <a:defRPr/>
            </a:pPr>
            <a:r>
              <a:rPr lang="en-US" sz="969" b="1">
                <a:solidFill>
                  <a:srgbClr val="58635B"/>
                </a:solidFill>
              </a:rPr>
              <a:t>Checking updates</a:t>
            </a:r>
          </a:p>
          <a:p>
            <a:pPr marL="164127" indent="-164127" defTabSz="844083">
              <a:buFont typeface="Arial" panose="020B0604020202020204" pitchFamily="34" charset="0"/>
              <a:buChar char="•"/>
              <a:defRPr/>
            </a:pPr>
            <a:r>
              <a:rPr lang="en-US" sz="969">
                <a:solidFill>
                  <a:srgbClr val="58635B"/>
                </a:solidFill>
              </a:rPr>
              <a:t>The text updates will not flow through to all the slide layouts as some have been placed manually. Therefore you may need to manually update other text boxes such as the divider slides etc</a:t>
            </a:r>
          </a:p>
          <a:p>
            <a:pPr marL="164127" indent="-164127" defTabSz="844083">
              <a:buFont typeface="Arial" panose="020B0604020202020204" pitchFamily="34" charset="0"/>
              <a:buChar char="•"/>
              <a:defRPr/>
            </a:pPr>
            <a:endParaRPr lang="en-US" sz="969">
              <a:solidFill>
                <a:srgbClr val="58635B"/>
              </a:solidFill>
            </a:endParaRPr>
          </a:p>
        </p:txBody>
      </p:sp>
    </p:spTree>
    <p:extLst>
      <p:ext uri="{BB962C8B-B14F-4D97-AF65-F5344CB8AC3E}">
        <p14:creationId xmlns:p14="http://schemas.microsoft.com/office/powerpoint/2010/main" val="2953899253"/>
      </p:ext>
    </p:extLst>
  </p:cSld>
  <p:clrMapOvr>
    <a:masterClrMapping/>
  </p:clrMapOvr>
  <p:extLst>
    <p:ext uri="{DCECCB84-F9BA-43D5-87BE-67443E8EF086}">
      <p15:sldGuideLst xmlns:p15="http://schemas.microsoft.com/office/powerpoint/2012/main">
        <p15:guide id="1" pos="14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E40683-C8B5-49AF-9E9A-B201D6202372}"/>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3" name="Footer Placeholder 2">
            <a:extLst>
              <a:ext uri="{FF2B5EF4-FFF2-40B4-BE49-F238E27FC236}">
                <a16:creationId xmlns:a16="http://schemas.microsoft.com/office/drawing/2014/main" id="{9F842C2A-772F-42ED-94A3-8D1B8A5063BB}"/>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2BDD7ED5-C50D-4029-931D-2A995178601E}"/>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1882415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B225C-53CA-4BED-B453-0064BA6299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55EFECB7-2ED7-4907-B971-2EFEB14F7D6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F791C6F1-4786-4947-B507-AEC4386FED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24F4B9-38BF-4A36-BDBD-41272594AE3B}"/>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6" name="Footer Placeholder 5">
            <a:extLst>
              <a:ext uri="{FF2B5EF4-FFF2-40B4-BE49-F238E27FC236}">
                <a16:creationId xmlns:a16="http://schemas.microsoft.com/office/drawing/2014/main" id="{DA65F59C-8184-4EBE-B54B-A5BA6CB3EB8E}"/>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B48E1372-7457-48D0-B740-6B988C15BCE5}"/>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2317182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B5996-E832-45F0-9402-42FC1B3CAB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7E6127E7-1225-47A0-8007-3894F853E94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99D7B2E3-A2A0-4443-91B4-CC9C5B322D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D873BDC-1A52-4A4E-80A6-2F43BA63A50E}"/>
              </a:ext>
            </a:extLst>
          </p:cNvPr>
          <p:cNvSpPr>
            <a:spLocks noGrp="1"/>
          </p:cNvSpPr>
          <p:nvPr>
            <p:ph type="dt" sz="half" idx="10"/>
          </p:nvPr>
        </p:nvSpPr>
        <p:spPr/>
        <p:txBody>
          <a:bodyPr/>
          <a:lstStyle/>
          <a:p>
            <a:fld id="{945E8482-A77E-4FA2-99B0-A2684C406248}" type="datetimeFigureOut">
              <a:rPr lang="en-IE" smtClean="0"/>
              <a:t>21/04/2023</a:t>
            </a:fld>
            <a:endParaRPr lang="en-IE"/>
          </a:p>
        </p:txBody>
      </p:sp>
      <p:sp>
        <p:nvSpPr>
          <p:cNvPr id="6" name="Footer Placeholder 5">
            <a:extLst>
              <a:ext uri="{FF2B5EF4-FFF2-40B4-BE49-F238E27FC236}">
                <a16:creationId xmlns:a16="http://schemas.microsoft.com/office/drawing/2014/main" id="{78DC35E3-009E-4594-9E05-0FF6851180B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77570293-2A9F-4B8A-ADC6-98758BEDB449}"/>
              </a:ext>
            </a:extLst>
          </p:cNvPr>
          <p:cNvSpPr>
            <a:spLocks noGrp="1"/>
          </p:cNvSpPr>
          <p:nvPr>
            <p:ph type="sldNum" sz="quarter" idx="12"/>
          </p:nvPr>
        </p:nvSpPr>
        <p:spPr/>
        <p:txBody>
          <a:bodyPr/>
          <a:lstStyle/>
          <a:p>
            <a:fld id="{BE9147ED-5F61-435C-9573-FF91398268D2}" type="slidenum">
              <a:rPr lang="en-IE" smtClean="0"/>
              <a:t>‹#›</a:t>
            </a:fld>
            <a:endParaRPr lang="en-IE"/>
          </a:p>
        </p:txBody>
      </p:sp>
    </p:spTree>
    <p:extLst>
      <p:ext uri="{BB962C8B-B14F-4D97-AF65-F5344CB8AC3E}">
        <p14:creationId xmlns:p14="http://schemas.microsoft.com/office/powerpoint/2010/main" val="1612127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5.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9488F6-9230-4C8C-A3BE-5CF0D9E2E4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954C8384-964A-4B42-996D-78764E42DC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482EF48-B4A8-4AE7-8DE6-D2D391E9C1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5E8482-A77E-4FA2-99B0-A2684C406248}" type="datetimeFigureOut">
              <a:rPr lang="en-IE" smtClean="0"/>
              <a:t>21/04/2023</a:t>
            </a:fld>
            <a:endParaRPr lang="en-IE"/>
          </a:p>
        </p:txBody>
      </p:sp>
      <p:sp>
        <p:nvSpPr>
          <p:cNvPr id="5" name="Footer Placeholder 4">
            <a:extLst>
              <a:ext uri="{FF2B5EF4-FFF2-40B4-BE49-F238E27FC236}">
                <a16:creationId xmlns:a16="http://schemas.microsoft.com/office/drawing/2014/main" id="{3AC4F545-EB48-4BB4-A596-689340EAA8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D0C2763D-5EBE-429A-9C0A-3ED8C7A1C7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9147ED-5F61-435C-9573-FF91398268D2}" type="slidenum">
              <a:rPr lang="en-IE" smtClean="0"/>
              <a:t>‹#›</a:t>
            </a:fld>
            <a:endParaRPr lang="en-IE"/>
          </a:p>
        </p:txBody>
      </p:sp>
    </p:spTree>
    <p:extLst>
      <p:ext uri="{BB962C8B-B14F-4D97-AF65-F5344CB8AC3E}">
        <p14:creationId xmlns:p14="http://schemas.microsoft.com/office/powerpoint/2010/main" val="10535181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05C608-D6CD-4000-8163-4416DC21E07B}" type="datetime1">
              <a:rPr lang="en-IE" smtClean="0"/>
              <a:t>21/04/2023</a:t>
            </a:fld>
            <a:endParaRPr lang="en-IE"/>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4E2E1A-F74E-4696-BDBE-96A0324E1B66}" type="slidenum">
              <a:rPr lang="en-IE" smtClean="0"/>
              <a:t>‹#›</a:t>
            </a:fld>
            <a:endParaRPr lang="en-IE"/>
          </a:p>
        </p:txBody>
      </p:sp>
    </p:spTree>
    <p:extLst>
      <p:ext uri="{BB962C8B-B14F-4D97-AF65-F5344CB8AC3E}">
        <p14:creationId xmlns:p14="http://schemas.microsoft.com/office/powerpoint/2010/main" val="273420631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GB" smtClean="0"/>
              <a:t>21/04/2023</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557A4D-EAB8-40A7-A893-516899CA8F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96537710-C80A-4178-AC2F-F35DED4123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B0C78C9-0330-453B-BF13-7F807A6FF5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51216E-60A2-4901-B95D-7A61DAE70518}" type="datetimeFigureOut">
              <a:rPr lang="en-IE" smtClean="0"/>
              <a:t>21/04/2023</a:t>
            </a:fld>
            <a:endParaRPr lang="en-IE"/>
          </a:p>
        </p:txBody>
      </p:sp>
      <p:sp>
        <p:nvSpPr>
          <p:cNvPr id="5" name="Footer Placeholder 4">
            <a:extLst>
              <a:ext uri="{FF2B5EF4-FFF2-40B4-BE49-F238E27FC236}">
                <a16:creationId xmlns:a16="http://schemas.microsoft.com/office/drawing/2014/main" id="{989BCC1F-2619-443A-B752-995B576342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36985665-B47A-4DC8-8997-00165F158B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01B3BAB-C737-46B4-9E6D-DDEF786F209E}" type="slidenum">
              <a:rPr lang="en-IE" smtClean="0"/>
              <a:t>‹#›</a:t>
            </a:fld>
            <a:endParaRPr lang="en-IE"/>
          </a:p>
        </p:txBody>
      </p:sp>
    </p:spTree>
    <p:extLst>
      <p:ext uri="{BB962C8B-B14F-4D97-AF65-F5344CB8AC3E}">
        <p14:creationId xmlns:p14="http://schemas.microsoft.com/office/powerpoint/2010/main" val="12925421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9"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30"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96DFF08F-DC6B-4601-B491-B0F83F6DD2DA}" type="datetimeFigureOut">
              <a:rPr lang="en-US" dirty="0"/>
              <a:pPr/>
              <a:t>4/21/2023</a:t>
            </a:fld>
            <a:endParaRPr lang="en-US"/>
          </a:p>
        </p:txBody>
      </p:sp>
      <p:sp>
        <p:nvSpPr>
          <p:cNvPr id="5" name="Footer Placeholder 4"/>
          <p:cNvSpPr>
            <a:spLocks noGrp="1"/>
          </p:cNvSpPr>
          <p:nvPr>
            <p:ph type="ftr" sz="quarter" idx="3"/>
          </p:nvPr>
        </p:nvSpPr>
        <p:spPr>
          <a:xfrm>
            <a:off x="4842933"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FAB73BC-B049-4115-A692-8D63A059BFB8}" type="slidenum">
              <a:rPr lang="en-US" dirty="0"/>
              <a:pPr/>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999192"/>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Lst>
  <p:txStyles>
    <p:titleStyle>
      <a:lvl1pPr algn="l" defTabSz="914400" rtl="0" eaLnBrk="1" latinLnBrk="0" hangingPunct="1">
        <a:lnSpc>
          <a:spcPct val="80000"/>
        </a:lnSpc>
        <a:spcBef>
          <a:spcPct val="0"/>
        </a:spcBef>
        <a:buNone/>
        <a:defRPr sz="44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0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6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hyperlink" Target="https://www.openaire.eu/how-to-comply-with-horizon-europe-mandate-for-publications" TargetMode="External"/><Relationship Id="rId3" Type="http://schemas.openxmlformats.org/officeDocument/2006/relationships/hyperlink" Target="https://libguides.ucc.ie/OAatucc/OAfunder" TargetMode="External"/><Relationship Id="rId7" Type="http://schemas.openxmlformats.org/officeDocument/2006/relationships/hyperlink" Target="https://www.coalition-s.org/addendum-to-the-coalition-s-guidance-on-the-implementation-of-plan-s/principles-and-implementation/"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www.coalition-s.org/" TargetMode="External"/><Relationship Id="rId5" Type="http://schemas.openxmlformats.org/officeDocument/2006/relationships/hyperlink" Target="https://www.coalition-s.org/about/" TargetMode="External"/><Relationship Id="rId4" Type="http://schemas.openxmlformats.org/officeDocument/2006/relationships/hyperlink" Target="https://norf.ie/national-action-plan/"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erc.europa.eu/sites/default/files/document/file/ERC_Open_Access_Guidelines-revised_2013.pdf"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s://wellcome.org/grant-funding/guidance/open-access-guidance/open-access-policy" TargetMode="External"/><Relationship Id="rId4" Type="http://schemas.openxmlformats.org/officeDocument/2006/relationships/hyperlink" Target="https://research.ie/assets/uploads/2017/05/IRC_Open_Access_Policy_Final.pdf"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epa.ie/our-services/research/epa-research-2030/strategies-and-policies/open-access-policy/"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hyperlink" Target="https://www.openaire.eu/how-to-comply-with-horizon-europe-mandate-for-publications" TargetMode="External"/><Relationship Id="rId4" Type="http://schemas.openxmlformats.org/officeDocument/2006/relationships/hyperlink" Target="https://op.europa.eu/en/web/eu-law-and-publications/publication-detail/-/publication/9570017e-cd82-11eb-ac72-01aa75ed71a1"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scopus-com.ucc.idm.oclc.org/search/form.uri?display=basic&amp;zone=header&amp;origin=searchbasic#basic" TargetMode="External"/><Relationship Id="rId2" Type="http://schemas.openxmlformats.org/officeDocument/2006/relationships/hyperlink" Target="https://libguides.ucc.ie/OAagreements/home" TargetMode="External"/><Relationship Id="rId1" Type="http://schemas.openxmlformats.org/officeDocument/2006/relationships/slideLayout" Target="../slideLayouts/slideLayout2.xml"/><Relationship Id="rId6" Type="http://schemas.openxmlformats.org/officeDocument/2006/relationships/hyperlink" Target="http://www.doaj.org/" TargetMode="External"/><Relationship Id="rId5" Type="http://schemas.openxmlformats.org/officeDocument/2006/relationships/hyperlink" Target="https://www.openlibhums.org/site/about/" TargetMode="External"/><Relationship Id="rId4" Type="http://schemas.openxmlformats.org/officeDocument/2006/relationships/hyperlink" Target="https://www.biorxiv.org/"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www.scimagojr.com/" TargetMode="External"/><Relationship Id="rId3" Type="http://schemas.openxmlformats.org/officeDocument/2006/relationships/hyperlink" Target="https://www.doaj.org/toc/2588-2589?source=%7B%22query%22%3A%7B%22bool%22%3A%7B%22must%22%3A%5B%7B%22terms%22%3A%7B%22index.issn.exact%22%3A%5B%222423-4257%22%2C%222588-2589%22%5D%7D%7D%5D%7D%7D%2C%22size%22%3A100%2C%22sort%22%3A%5B%7B%22created_date%22%3A%7B%22order%22%3A%22desc%22%7D%7D%5D%2C%22_source%22%3A%7B%7D%2C%22track_total_hits%22%3Atrue%7D" TargetMode="External"/><Relationship Id="rId7" Type="http://schemas.openxmlformats.org/officeDocument/2006/relationships/hyperlink" Target="https://jcr.clarivate.com/jcr/home?app=jcr&amp;referrer=target%3Dhttps:%2F%2Fjcr.clarivate.com%2Fjcr%2Fhome&amp;Init=Yes&amp;authCode=sQ_dBJIvYIDU5_k_sPrwOl_K6IcU58l-2EvCiKrGc0Y&amp;SrcApp=IC2LS" TargetMode="External"/><Relationship Id="rId2" Type="http://schemas.openxmlformats.org/officeDocument/2006/relationships/hyperlink" Target="http://www.doaj.org" TargetMode="External"/><Relationship Id="rId1" Type="http://schemas.openxmlformats.org/officeDocument/2006/relationships/slideLayout" Target="../slideLayouts/slideLayout2.xml"/><Relationship Id="rId6" Type="http://schemas.openxmlformats.org/officeDocument/2006/relationships/hyperlink" Target="https://www.ncbi.nlm.nih.gov/nlmcatalog/?term=currentlyindexed%5bAll+Fields%5d+AND+currentlyindexedelectronic%5bAll+Fields%5d" TargetMode="External"/><Relationship Id="rId5" Type="http://schemas.openxmlformats.org/officeDocument/2006/relationships/hyperlink" Target="https://www.scopus.com/sources.uri?zone=TopNavBar&amp;origin=searchbasic" TargetMode="External"/><Relationship Id="rId4" Type="http://schemas.openxmlformats.org/officeDocument/2006/relationships/hyperlink" Target="http://mjl.clarivate.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scopus-com.ucc.idm.oclc.org/search/form.uri?display=basic#basic"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hyperlink" Target="https://www.doaj.org/toc/2588-2589?source=%7B%22query%22%3A%7B%22bool%22%3A%7B%22must%22%3A%5B%7B%22terms%22%3A%7B%22index.issn.exact%22%3A%5B%222423-4257%22%2C%222588-2589%22%5D%7D%7D%5D%7D%7D%2C%22size%22%3A100%2C%22sort%22%3A%5B%7B%22created_date%22%3A%7B%22order%22%3A%22desc%22%7D%7D%5D%2C%22_source%22%3A%7B%7D%2C%22track_total_hits%22%3Atrue%7D" TargetMode="External"/><Relationship Id="rId2" Type="http://schemas.openxmlformats.org/officeDocument/2006/relationships/hyperlink" Target="https://bmcmedicine.biomedcentral.com/submission-guidelines?gclid=CjwKCAiAvK2bBhB8EiwAZUbP1GFfcJUj_H76xQGXWRWWTjY9EvpFoD-Dd_RyEsehHw5R4nksQ4cNrRoC6hoQAvD_BwE"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s://thinkchecksubmit.org/"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orcid.or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orcid.org/0000-0001-6033-0480" TargetMode="Externa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hyperlink" Target="https://creativecommons.org/about/cclicenses/" TargetMode="External"/><Relationship Id="rId3" Type="http://schemas.openxmlformats.org/officeDocument/2006/relationships/hyperlink" Target="https://v2.sherpa.ac.uk/juliet/" TargetMode="External"/><Relationship Id="rId7" Type="http://schemas.openxmlformats.org/officeDocument/2006/relationships/hyperlink" Target="https://libguides.ucc.ie/OAatucc/publishyourresearch"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hyperlink" Target="https://irel.ie/open-access/" TargetMode="External"/><Relationship Id="rId5" Type="http://schemas.openxmlformats.org/officeDocument/2006/relationships/hyperlink" Target="https://v2.sherpa.ac.uk/romeo/" TargetMode="External"/><Relationship Id="rId4" Type="http://schemas.openxmlformats.org/officeDocument/2006/relationships/hyperlink" Target="https://journalcheckertool.org/"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hrbopenresearch.org/" TargetMode="External"/><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hyperlink" Target="https://www.openlibhums.org/journals/" TargetMode="External"/><Relationship Id="rId5" Type="http://schemas.openxmlformats.org/officeDocument/2006/relationships/hyperlink" Target="https://journals.ucc.ie/index.php/scenario" TargetMode="External"/><Relationship Id="rId4" Type="http://schemas.openxmlformats.org/officeDocument/2006/relationships/hyperlink" Target="https://journals.ucc.ie/index.php/boolean"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ucc.ie/en/media/research/researchatucc/policiesdocuments/OpenAccessPublicationsPolicy.docx"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8" Type="http://schemas.openxmlformats.org/officeDocument/2006/relationships/hyperlink" Target="https://libguides.ucc.ie/OAagreements/home" TargetMode="External"/><Relationship Id="rId3" Type="http://schemas.openxmlformats.org/officeDocument/2006/relationships/hyperlink" Target="https://cora.ucc.ie/" TargetMode="External"/><Relationship Id="rId7" Type="http://schemas.openxmlformats.org/officeDocument/2006/relationships/hyperlink" Target="https://libguides.ucc.ie/theses" TargetMode="External"/><Relationship Id="rId2" Type="http://schemas.openxmlformats.org/officeDocument/2006/relationships/image" Target="../media/image36.jpeg"/><Relationship Id="rId1" Type="http://schemas.openxmlformats.org/officeDocument/2006/relationships/slideLayout" Target="../slideLayouts/slideLayout23.xml"/><Relationship Id="rId6" Type="http://schemas.openxmlformats.org/officeDocument/2006/relationships/hyperlink" Target="https://libguides.ucc.ie/OAatucc/cora" TargetMode="External"/><Relationship Id="rId5" Type="http://schemas.openxmlformats.org/officeDocument/2006/relationships/image" Target="../media/image37.png"/><Relationship Id="rId10" Type="http://schemas.openxmlformats.org/officeDocument/2006/relationships/image" Target="../media/image38.png"/><Relationship Id="rId4" Type="http://schemas.openxmlformats.org/officeDocument/2006/relationships/hyperlink" Target="https://cora.ucc.ie/handle/10468/1" TargetMode="External"/><Relationship Id="rId9" Type="http://schemas.openxmlformats.org/officeDocument/2006/relationships/hyperlink" Target="mailto:cora@ucc.ie"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s://v2.sherpa.ac.uk/romeo/"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hdl.handle.net/10468/13785" TargetMode="External"/><Relationship Id="rId2" Type="http://schemas.openxmlformats.org/officeDocument/2006/relationships/image" Target="../media/image40.pn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hyperlink" Target="http://hdl.handle.net/10468/9804" TargetMode="External"/><Relationship Id="rId2" Type="http://schemas.openxmlformats.org/officeDocument/2006/relationships/image" Target="../media/image41.pn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hyperlink" Target="mailto:cora@ucc.ie"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hyperlink" Target="https://www-scopus-com.ucc.idm.oclc.org/authid/detail.uri?authorId=6602488702"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libguides.ucc.ie/OAagreements" TargetMode="External"/><Relationship Id="rId2" Type="http://schemas.openxmlformats.org/officeDocument/2006/relationships/notesSlide" Target="../notesSlides/notesSlide20.xml"/><Relationship Id="rId1" Type="http://schemas.openxmlformats.org/officeDocument/2006/relationships/slideLayout" Target="../slideLayouts/slideLayout3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hyperlink" Target="mailto:libraryapcs@ucc.ie"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hyperlink" Target="https://libguides.ucc.ie/OAagreements" TargetMode="External"/><Relationship Id="rId4" Type="http://schemas.openxmlformats.org/officeDocument/2006/relationships/hyperlink" Target="mailto:cora@ucc.ie"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journals.ucc.ie/index.php/boolean/about" TargetMode="External"/><Relationship Id="rId7" Type="http://schemas.openxmlformats.org/officeDocument/2006/relationships/hyperlink" Target="https://www.openlibhums.org/site/about/"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s://open-research-europe.ec.europa.eu/for-authors/publish-your-research/" TargetMode="External"/><Relationship Id="rId5" Type="http://schemas.openxmlformats.org/officeDocument/2006/relationships/hyperlink" Target="https://doaj.org/support/publisher-supporters/" TargetMode="External"/><Relationship Id="rId4" Type="http://schemas.openxmlformats.org/officeDocument/2006/relationships/hyperlink" Target="https://journals.ucc.ie/index.php/scenario/"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hyperlink" Target="https://libguides.ucc.ie/OAatucc/home" TargetMode="External"/><Relationship Id="rId3" Type="http://schemas.openxmlformats.org/officeDocument/2006/relationships/image" Target="../media/image34.jpeg"/><Relationship Id="rId7" Type="http://schemas.openxmlformats.org/officeDocument/2006/relationships/hyperlink" Target="mailto:donna.odoibhlin@ucc.ie"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hyperlink" Target="mailto:libraryapcs@ucc.ie" TargetMode="External"/><Relationship Id="rId5" Type="http://schemas.openxmlformats.org/officeDocument/2006/relationships/hyperlink" Target="mailto:Cora@ucc.ie" TargetMode="External"/><Relationship Id="rId4" Type="http://schemas.openxmlformats.org/officeDocument/2006/relationships/image" Target="../media/image35.png"/><Relationship Id="rId9" Type="http://schemas.openxmlformats.org/officeDocument/2006/relationships/hyperlink" Target="http://libguides.ucc.ie/theses/ethese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onlinelibrary.wiley.com/doi/10.1111/spc3.12309/epdf" TargetMode="Externa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hyperlink" Target="http://www.tandfonline.com/doi/pdf/10.1080/09581596.2017.1293234?needAccess=true"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ucc.ie/en/research/support/iris/" TargetMode="External"/><Relationship Id="rId7" Type="http://schemas.openxmlformats.org/officeDocument/2006/relationships/hyperlink" Target="https://twitter.com/home" TargetMode="External"/><Relationship Id="rId2" Type="http://schemas.openxmlformats.org/officeDocument/2006/relationships/hyperlink" Target="http://libguides.library.uu.nl/researchimpact/profiles" TargetMode="External"/><Relationship Id="rId1" Type="http://schemas.openxmlformats.org/officeDocument/2006/relationships/slideLayout" Target="../slideLayouts/slideLayout2.xml"/><Relationship Id="rId6" Type="http://schemas.openxmlformats.org/officeDocument/2006/relationships/hyperlink" Target="https://www.scopus.com/freelookup/form/author.uri" TargetMode="External"/><Relationship Id="rId5" Type="http://schemas.openxmlformats.org/officeDocument/2006/relationships/hyperlink" Target="https://access.clarivate.com/login?app=wos" TargetMode="External"/><Relationship Id="rId4" Type="http://schemas.openxmlformats.org/officeDocument/2006/relationships/hyperlink" Target="https://orcid.org/"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6" name="Rectangle 55">
            <a:extLst>
              <a:ext uri="{FF2B5EF4-FFF2-40B4-BE49-F238E27FC236}">
                <a16:creationId xmlns:a16="http://schemas.microsoft.com/office/drawing/2014/main" id="{B5DAA40F-4F28-4316-934E-C55D7C3AA0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Shape 57">
            <a:extLst>
              <a:ext uri="{FF2B5EF4-FFF2-40B4-BE49-F238E27FC236}">
                <a16:creationId xmlns:a16="http://schemas.microsoft.com/office/drawing/2014/main" id="{F6D467C8-A8E0-468B-B88D-9CEEE37BFC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433452" cy="6858000"/>
          </a:xfrm>
          <a:custGeom>
            <a:avLst/>
            <a:gdLst>
              <a:gd name="connsiteX0" fmla="*/ 0 w 7433452"/>
              <a:gd name="connsiteY0" fmla="*/ 0 h 6858000"/>
              <a:gd name="connsiteX1" fmla="*/ 1592736 w 7433452"/>
              <a:gd name="connsiteY1" fmla="*/ 0 h 6858000"/>
              <a:gd name="connsiteX2" fmla="*/ 2171700 w 7433452"/>
              <a:gd name="connsiteY2" fmla="*/ 0 h 6858000"/>
              <a:gd name="connsiteX3" fmla="*/ 2762696 w 7433452"/>
              <a:gd name="connsiteY3" fmla="*/ 0 h 6858000"/>
              <a:gd name="connsiteX4" fmla="*/ 2829254 w 7433452"/>
              <a:gd name="connsiteY4" fmla="*/ 0 h 6858000"/>
              <a:gd name="connsiteX5" fmla="*/ 7415310 w 7433452"/>
              <a:gd name="connsiteY5" fmla="*/ 0 h 6858000"/>
              <a:gd name="connsiteX6" fmla="*/ 7405703 w 7433452"/>
              <a:gd name="connsiteY6" fmla="*/ 94814 h 6858000"/>
              <a:gd name="connsiteX7" fmla="*/ 7410754 w 7433452"/>
              <a:gd name="connsiteY7" fmla="*/ 421796 h 6858000"/>
              <a:gd name="connsiteX8" fmla="*/ 7414688 w 7433452"/>
              <a:gd name="connsiteY8" fmla="*/ 812192 h 6858000"/>
              <a:gd name="connsiteX9" fmla="*/ 7395017 w 7433452"/>
              <a:gd name="connsiteY9" fmla="*/ 1113642 h 6858000"/>
              <a:gd name="connsiteX10" fmla="*/ 7422810 w 7433452"/>
              <a:gd name="connsiteY10" fmla="*/ 1796708 h 6858000"/>
              <a:gd name="connsiteX11" fmla="*/ 7421161 w 7433452"/>
              <a:gd name="connsiteY11" fmla="*/ 2327333 h 6858000"/>
              <a:gd name="connsiteX12" fmla="*/ 7412023 w 7433452"/>
              <a:gd name="connsiteY12" fmla="*/ 2784280 h 6858000"/>
              <a:gd name="connsiteX13" fmla="*/ 7417480 w 7433452"/>
              <a:gd name="connsiteY13" fmla="*/ 2985458 h 6858000"/>
              <a:gd name="connsiteX14" fmla="*/ 7403774 w 7433452"/>
              <a:gd name="connsiteY14" fmla="*/ 3531096 h 6858000"/>
              <a:gd name="connsiteX15" fmla="*/ 7414307 w 7433452"/>
              <a:gd name="connsiteY15" fmla="*/ 4336830 h 6858000"/>
              <a:gd name="connsiteX16" fmla="*/ 7413419 w 7433452"/>
              <a:gd name="connsiteY16" fmla="*/ 5026893 h 6858000"/>
              <a:gd name="connsiteX17" fmla="*/ 7417734 w 7433452"/>
              <a:gd name="connsiteY17" fmla="*/ 5252632 h 6858000"/>
              <a:gd name="connsiteX18" fmla="*/ 7417734 w 7433452"/>
              <a:gd name="connsiteY18" fmla="*/ 5466282 h 6858000"/>
              <a:gd name="connsiteX19" fmla="*/ 7379659 w 7433452"/>
              <a:gd name="connsiteY19" fmla="*/ 6121225 h 6858000"/>
              <a:gd name="connsiteX20" fmla="*/ 7395115 w 7433452"/>
              <a:gd name="connsiteY20" fmla="*/ 6708907 h 6858000"/>
              <a:gd name="connsiteX21" fmla="*/ 7412408 w 7433452"/>
              <a:gd name="connsiteY21" fmla="*/ 6858000 h 6858000"/>
              <a:gd name="connsiteX22" fmla="*/ 2829254 w 7433452"/>
              <a:gd name="connsiteY22" fmla="*/ 6858000 h 6858000"/>
              <a:gd name="connsiteX23" fmla="*/ 2762696 w 7433452"/>
              <a:gd name="connsiteY23" fmla="*/ 6858000 h 6858000"/>
              <a:gd name="connsiteX24" fmla="*/ 2171700 w 7433452"/>
              <a:gd name="connsiteY24" fmla="*/ 6858000 h 6858000"/>
              <a:gd name="connsiteX25" fmla="*/ 1592736 w 7433452"/>
              <a:gd name="connsiteY25" fmla="*/ 6858000 h 6858000"/>
              <a:gd name="connsiteX26" fmla="*/ 0 w 7433452"/>
              <a:gd name="connsiteY2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433452" h="6858000">
                <a:moveTo>
                  <a:pt x="0" y="0"/>
                </a:moveTo>
                <a:lnTo>
                  <a:pt x="1592736" y="0"/>
                </a:lnTo>
                <a:lnTo>
                  <a:pt x="2171700" y="0"/>
                </a:lnTo>
                <a:lnTo>
                  <a:pt x="2762696" y="0"/>
                </a:lnTo>
                <a:lnTo>
                  <a:pt x="2829254" y="0"/>
                </a:lnTo>
                <a:lnTo>
                  <a:pt x="7415310" y="0"/>
                </a:lnTo>
                <a:lnTo>
                  <a:pt x="7405703" y="94814"/>
                </a:lnTo>
                <a:cubicBezTo>
                  <a:pt x="7398856" y="203629"/>
                  <a:pt x="7403520" y="312712"/>
                  <a:pt x="7410754" y="421796"/>
                </a:cubicBezTo>
                <a:cubicBezTo>
                  <a:pt x="7421580" y="551656"/>
                  <a:pt x="7422900" y="682144"/>
                  <a:pt x="7414688" y="812192"/>
                </a:cubicBezTo>
                <a:cubicBezTo>
                  <a:pt x="7406693" y="912591"/>
                  <a:pt x="7397682" y="1012988"/>
                  <a:pt x="7395017" y="1113642"/>
                </a:cubicBezTo>
                <a:cubicBezTo>
                  <a:pt x="7388670" y="1342689"/>
                  <a:pt x="7407708" y="1569316"/>
                  <a:pt x="7422810" y="1796708"/>
                </a:cubicBezTo>
                <a:cubicBezTo>
                  <a:pt x="7434487" y="1973710"/>
                  <a:pt x="7439944" y="2150457"/>
                  <a:pt x="7421161" y="2327333"/>
                </a:cubicBezTo>
                <a:cubicBezTo>
                  <a:pt x="7405170" y="2479266"/>
                  <a:pt x="7396793" y="2631453"/>
                  <a:pt x="7412023" y="2784280"/>
                </a:cubicBezTo>
                <a:cubicBezTo>
                  <a:pt x="7418749" y="2851085"/>
                  <a:pt x="7425984" y="2918653"/>
                  <a:pt x="7417480" y="2985458"/>
                </a:cubicBezTo>
                <a:cubicBezTo>
                  <a:pt x="7394508" y="3167039"/>
                  <a:pt x="7398063" y="3349132"/>
                  <a:pt x="7403774" y="3531096"/>
                </a:cubicBezTo>
                <a:cubicBezTo>
                  <a:pt x="7412277" y="3799715"/>
                  <a:pt x="7426364" y="4067954"/>
                  <a:pt x="7414307" y="4336830"/>
                </a:cubicBezTo>
                <a:cubicBezTo>
                  <a:pt x="7404027" y="4566639"/>
                  <a:pt x="7420653" y="4796831"/>
                  <a:pt x="7413419" y="5026893"/>
                </a:cubicBezTo>
                <a:cubicBezTo>
                  <a:pt x="7410982" y="5102162"/>
                  <a:pt x="7412429" y="5177504"/>
                  <a:pt x="7417734" y="5252632"/>
                </a:cubicBezTo>
                <a:cubicBezTo>
                  <a:pt x="7424271" y="5323700"/>
                  <a:pt x="7424271" y="5395213"/>
                  <a:pt x="7417734" y="5466282"/>
                </a:cubicBezTo>
                <a:cubicBezTo>
                  <a:pt x="7393239" y="5683875"/>
                  <a:pt x="7383214" y="5902486"/>
                  <a:pt x="7379659" y="6121225"/>
                </a:cubicBezTo>
                <a:cubicBezTo>
                  <a:pt x="7376423" y="6317442"/>
                  <a:pt x="7378041" y="6513586"/>
                  <a:pt x="7395115" y="6708907"/>
                </a:cubicBezTo>
                <a:lnTo>
                  <a:pt x="7412408" y="6858000"/>
                </a:lnTo>
                <a:lnTo>
                  <a:pt x="2829254" y="6858000"/>
                </a:lnTo>
                <a:lnTo>
                  <a:pt x="2762696" y="6858000"/>
                </a:lnTo>
                <a:lnTo>
                  <a:pt x="2171700" y="6858000"/>
                </a:lnTo>
                <a:lnTo>
                  <a:pt x="1592736"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E682380-F677-4DB0-858C-68F476EDF918}"/>
              </a:ext>
            </a:extLst>
          </p:cNvPr>
          <p:cNvSpPr>
            <a:spLocks noGrp="1"/>
          </p:cNvSpPr>
          <p:nvPr>
            <p:ph type="title"/>
          </p:nvPr>
        </p:nvSpPr>
        <p:spPr>
          <a:xfrm>
            <a:off x="251696" y="0"/>
            <a:ext cx="6930059" cy="2187641"/>
          </a:xfrm>
        </p:spPr>
        <p:txBody>
          <a:bodyPr anchor="b">
            <a:normAutofit/>
          </a:bodyPr>
          <a:lstStyle/>
          <a:p>
            <a:pPr algn="ctr"/>
            <a:r>
              <a:rPr lang="en-IE" sz="5400" b="1" dirty="0">
                <a:solidFill>
                  <a:srgbClr val="FFFFFF"/>
                </a:solidFill>
              </a:rPr>
              <a:t>OPEN RESEARCH</a:t>
            </a:r>
            <a:br>
              <a:rPr lang="en-IE" sz="5400" b="1" dirty="0">
                <a:solidFill>
                  <a:srgbClr val="FFFFFF"/>
                </a:solidFill>
              </a:rPr>
            </a:br>
            <a:br>
              <a:rPr lang="en-IE" sz="5400" b="1" dirty="0">
                <a:solidFill>
                  <a:srgbClr val="FFFFFF"/>
                </a:solidFill>
              </a:rPr>
            </a:br>
            <a:r>
              <a:rPr lang="en-IE" sz="3600" b="1" dirty="0">
                <a:solidFill>
                  <a:srgbClr val="FFFFFF"/>
                </a:solidFill>
              </a:rPr>
              <a:t>UCC HR Researcher Training</a:t>
            </a:r>
          </a:p>
        </p:txBody>
      </p:sp>
      <p:sp>
        <p:nvSpPr>
          <p:cNvPr id="60" name="sketch line">
            <a:extLst>
              <a:ext uri="{FF2B5EF4-FFF2-40B4-BE49-F238E27FC236}">
                <a16:creationId xmlns:a16="http://schemas.microsoft.com/office/drawing/2014/main" id="{62677C27-4325-4BE2-B2C9-B721DA9E3C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5475" y="2362200"/>
            <a:ext cx="4056549" cy="18288"/>
          </a:xfrm>
          <a:custGeom>
            <a:avLst/>
            <a:gdLst>
              <a:gd name="connsiteX0" fmla="*/ 0 w 4056549"/>
              <a:gd name="connsiteY0" fmla="*/ 0 h 18288"/>
              <a:gd name="connsiteX1" fmla="*/ 676092 w 4056549"/>
              <a:gd name="connsiteY1" fmla="*/ 0 h 18288"/>
              <a:gd name="connsiteX2" fmla="*/ 1271052 w 4056549"/>
              <a:gd name="connsiteY2" fmla="*/ 0 h 18288"/>
              <a:gd name="connsiteX3" fmla="*/ 1947144 w 4056549"/>
              <a:gd name="connsiteY3" fmla="*/ 0 h 18288"/>
              <a:gd name="connsiteX4" fmla="*/ 2501539 w 4056549"/>
              <a:gd name="connsiteY4" fmla="*/ 0 h 18288"/>
              <a:gd name="connsiteX5" fmla="*/ 3137065 w 4056549"/>
              <a:gd name="connsiteY5" fmla="*/ 0 h 18288"/>
              <a:gd name="connsiteX6" fmla="*/ 4056549 w 4056549"/>
              <a:gd name="connsiteY6" fmla="*/ 0 h 18288"/>
              <a:gd name="connsiteX7" fmla="*/ 4056549 w 4056549"/>
              <a:gd name="connsiteY7" fmla="*/ 18288 h 18288"/>
              <a:gd name="connsiteX8" fmla="*/ 3380458 w 4056549"/>
              <a:gd name="connsiteY8" fmla="*/ 18288 h 18288"/>
              <a:gd name="connsiteX9" fmla="*/ 2663801 w 4056549"/>
              <a:gd name="connsiteY9" fmla="*/ 18288 h 18288"/>
              <a:gd name="connsiteX10" fmla="*/ 2068840 w 4056549"/>
              <a:gd name="connsiteY10" fmla="*/ 18288 h 18288"/>
              <a:gd name="connsiteX11" fmla="*/ 1311618 w 4056549"/>
              <a:gd name="connsiteY11" fmla="*/ 18288 h 18288"/>
              <a:gd name="connsiteX12" fmla="*/ 716657 w 4056549"/>
              <a:gd name="connsiteY12" fmla="*/ 18288 h 18288"/>
              <a:gd name="connsiteX13" fmla="*/ 0 w 4056549"/>
              <a:gd name="connsiteY13" fmla="*/ 18288 h 18288"/>
              <a:gd name="connsiteX14" fmla="*/ 0 w 4056549"/>
              <a:gd name="connsiteY1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6549" h="18288" fill="none" extrusionOk="0">
                <a:moveTo>
                  <a:pt x="0" y="0"/>
                </a:moveTo>
                <a:cubicBezTo>
                  <a:pt x="324395" y="-12272"/>
                  <a:pt x="437185" y="20747"/>
                  <a:pt x="676092" y="0"/>
                </a:cubicBezTo>
                <a:cubicBezTo>
                  <a:pt x="914999" y="-20747"/>
                  <a:pt x="980886" y="20074"/>
                  <a:pt x="1271052" y="0"/>
                </a:cubicBezTo>
                <a:cubicBezTo>
                  <a:pt x="1561218" y="-20074"/>
                  <a:pt x="1609815" y="19965"/>
                  <a:pt x="1947144" y="0"/>
                </a:cubicBezTo>
                <a:cubicBezTo>
                  <a:pt x="2284473" y="-19965"/>
                  <a:pt x="2317816" y="-23682"/>
                  <a:pt x="2501539" y="0"/>
                </a:cubicBezTo>
                <a:cubicBezTo>
                  <a:pt x="2685262" y="23682"/>
                  <a:pt x="2879461" y="12712"/>
                  <a:pt x="3137065" y="0"/>
                </a:cubicBezTo>
                <a:cubicBezTo>
                  <a:pt x="3394669" y="-12712"/>
                  <a:pt x="3618306" y="-41742"/>
                  <a:pt x="4056549" y="0"/>
                </a:cubicBezTo>
                <a:cubicBezTo>
                  <a:pt x="4056201" y="6465"/>
                  <a:pt x="4056979" y="10922"/>
                  <a:pt x="4056549" y="18288"/>
                </a:cubicBezTo>
                <a:cubicBezTo>
                  <a:pt x="3807729" y="-7540"/>
                  <a:pt x="3536237" y="12619"/>
                  <a:pt x="3380458" y="18288"/>
                </a:cubicBezTo>
                <a:cubicBezTo>
                  <a:pt x="3224679" y="23957"/>
                  <a:pt x="2967497" y="23368"/>
                  <a:pt x="2663801" y="18288"/>
                </a:cubicBezTo>
                <a:cubicBezTo>
                  <a:pt x="2360105" y="13208"/>
                  <a:pt x="2359716" y="-8821"/>
                  <a:pt x="2068840" y="18288"/>
                </a:cubicBezTo>
                <a:cubicBezTo>
                  <a:pt x="1777964" y="45397"/>
                  <a:pt x="1641909" y="31681"/>
                  <a:pt x="1311618" y="18288"/>
                </a:cubicBezTo>
                <a:cubicBezTo>
                  <a:pt x="981327" y="4895"/>
                  <a:pt x="990410" y="11155"/>
                  <a:pt x="716657" y="18288"/>
                </a:cubicBezTo>
                <a:cubicBezTo>
                  <a:pt x="442904" y="25421"/>
                  <a:pt x="330722" y="13665"/>
                  <a:pt x="0" y="18288"/>
                </a:cubicBezTo>
                <a:cubicBezTo>
                  <a:pt x="75" y="12069"/>
                  <a:pt x="515" y="5650"/>
                  <a:pt x="0" y="0"/>
                </a:cubicBezTo>
                <a:close/>
              </a:path>
              <a:path w="4056549" h="18288" stroke="0" extrusionOk="0">
                <a:moveTo>
                  <a:pt x="0" y="0"/>
                </a:moveTo>
                <a:cubicBezTo>
                  <a:pt x="175099" y="13469"/>
                  <a:pt x="459673" y="14529"/>
                  <a:pt x="594961" y="0"/>
                </a:cubicBezTo>
                <a:cubicBezTo>
                  <a:pt x="730249" y="-14529"/>
                  <a:pt x="873178" y="22015"/>
                  <a:pt x="1149356" y="0"/>
                </a:cubicBezTo>
                <a:cubicBezTo>
                  <a:pt x="1425534" y="-22015"/>
                  <a:pt x="1498871" y="-21513"/>
                  <a:pt x="1744316" y="0"/>
                </a:cubicBezTo>
                <a:cubicBezTo>
                  <a:pt x="1989761" y="21513"/>
                  <a:pt x="2112991" y="-46"/>
                  <a:pt x="2420408" y="0"/>
                </a:cubicBezTo>
                <a:cubicBezTo>
                  <a:pt x="2727825" y="46"/>
                  <a:pt x="2880256" y="-10040"/>
                  <a:pt x="3137065" y="0"/>
                </a:cubicBezTo>
                <a:cubicBezTo>
                  <a:pt x="3393874" y="10040"/>
                  <a:pt x="3704325" y="-6685"/>
                  <a:pt x="4056549" y="0"/>
                </a:cubicBezTo>
                <a:cubicBezTo>
                  <a:pt x="4055732" y="6895"/>
                  <a:pt x="4055770" y="11206"/>
                  <a:pt x="4056549" y="18288"/>
                </a:cubicBezTo>
                <a:cubicBezTo>
                  <a:pt x="3812770" y="11959"/>
                  <a:pt x="3533996" y="-5717"/>
                  <a:pt x="3299327" y="18288"/>
                </a:cubicBezTo>
                <a:cubicBezTo>
                  <a:pt x="3064658" y="42293"/>
                  <a:pt x="2940381" y="24492"/>
                  <a:pt x="2744931" y="18288"/>
                </a:cubicBezTo>
                <a:cubicBezTo>
                  <a:pt x="2549481" y="12084"/>
                  <a:pt x="2252169" y="51841"/>
                  <a:pt x="1987709" y="18288"/>
                </a:cubicBezTo>
                <a:cubicBezTo>
                  <a:pt x="1723249" y="-15265"/>
                  <a:pt x="1438946" y="3423"/>
                  <a:pt x="1230487" y="18288"/>
                </a:cubicBezTo>
                <a:cubicBezTo>
                  <a:pt x="1022028" y="33153"/>
                  <a:pt x="795957" y="18596"/>
                  <a:pt x="676092" y="18288"/>
                </a:cubicBezTo>
                <a:cubicBezTo>
                  <a:pt x="556227" y="17980"/>
                  <a:pt x="334853" y="39451"/>
                  <a:pt x="0" y="18288"/>
                </a:cubicBezTo>
                <a:cubicBezTo>
                  <a:pt x="95" y="14343"/>
                  <a:pt x="742" y="686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2754874-CD73-4ED9-B633-D6D0515A57DE}"/>
              </a:ext>
            </a:extLst>
          </p:cNvPr>
          <p:cNvSpPr>
            <a:spLocks noGrp="1"/>
          </p:cNvSpPr>
          <p:nvPr>
            <p:ph idx="1"/>
          </p:nvPr>
        </p:nvSpPr>
        <p:spPr>
          <a:xfrm>
            <a:off x="339594" y="2793000"/>
            <a:ext cx="6930060" cy="3652487"/>
          </a:xfrm>
        </p:spPr>
        <p:txBody>
          <a:bodyPr vert="horz" lIns="91440" tIns="45720" rIns="91440" bIns="45720" rtlCol="0" anchor="t">
            <a:noAutofit/>
          </a:bodyPr>
          <a:lstStyle/>
          <a:p>
            <a:pPr marL="0" indent="0">
              <a:buNone/>
            </a:pPr>
            <a:r>
              <a:rPr lang="en-IE" sz="3200" b="1" dirty="0">
                <a:solidFill>
                  <a:srgbClr val="FFFFFF"/>
                </a:solidFill>
                <a:latin typeface="+mj-lt"/>
                <a:ea typeface="+mj-ea"/>
                <a:cs typeface="Calibri Light"/>
              </a:rPr>
              <a:t>Friday 21.04.23</a:t>
            </a:r>
            <a:endParaRPr lang="en-IE" b="1" dirty="0">
              <a:solidFill>
                <a:srgbClr val="FFFFFF"/>
              </a:solidFill>
              <a:latin typeface="+mj-lt"/>
              <a:ea typeface="+mj-ea"/>
              <a:cs typeface="Calibri Light"/>
            </a:endParaRPr>
          </a:p>
          <a:p>
            <a:pPr marL="0" indent="0">
              <a:buNone/>
            </a:pPr>
            <a:r>
              <a:rPr lang="en-IE" sz="3200" b="1" dirty="0">
                <a:solidFill>
                  <a:srgbClr val="FFFFFF"/>
                </a:solidFill>
                <a:latin typeface="+mj-lt"/>
                <a:ea typeface="+mj-ea"/>
                <a:cs typeface="Calibri Light"/>
              </a:rPr>
              <a:t>1100 – 1200 – via Teams</a:t>
            </a:r>
            <a:endParaRPr lang="en-IE" b="1" dirty="0">
              <a:solidFill>
                <a:srgbClr val="FFFFFF"/>
              </a:solidFill>
              <a:latin typeface="+mj-lt"/>
              <a:ea typeface="+mj-ea"/>
              <a:cs typeface="Calibri Light"/>
            </a:endParaRPr>
          </a:p>
          <a:p>
            <a:pPr marL="0" indent="0">
              <a:buNone/>
            </a:pPr>
            <a:endParaRPr lang="en-IE" b="1" dirty="0">
              <a:solidFill>
                <a:srgbClr val="FFFFFF"/>
              </a:solidFill>
              <a:latin typeface="+mj-lt"/>
              <a:ea typeface="+mj-ea"/>
              <a:cs typeface="Calibri Light"/>
            </a:endParaRPr>
          </a:p>
          <a:p>
            <a:pPr marL="0" indent="0">
              <a:buNone/>
            </a:pPr>
            <a:r>
              <a:rPr lang="en-IE" b="1" dirty="0">
                <a:solidFill>
                  <a:srgbClr val="FFFFFF"/>
                </a:solidFill>
                <a:latin typeface="+mj-lt"/>
                <a:ea typeface="+mj-ea"/>
                <a:cs typeface="Calibri Light"/>
              </a:rPr>
              <a:t>Donna Ó </a:t>
            </a:r>
            <a:r>
              <a:rPr lang="en-IE" b="1" dirty="0" err="1">
                <a:solidFill>
                  <a:srgbClr val="FFFFFF"/>
                </a:solidFill>
                <a:latin typeface="+mj-lt"/>
                <a:ea typeface="+mj-ea"/>
                <a:cs typeface="Calibri Light"/>
              </a:rPr>
              <a:t>Doibhlin</a:t>
            </a:r>
            <a:endParaRPr lang="en-IE" b="1" dirty="0">
              <a:solidFill>
                <a:srgbClr val="FFFFFF"/>
              </a:solidFill>
              <a:latin typeface="+mj-lt"/>
              <a:ea typeface="+mj-ea"/>
              <a:cs typeface="Calibri Light"/>
            </a:endParaRPr>
          </a:p>
          <a:p>
            <a:pPr marL="0" indent="0">
              <a:buNone/>
            </a:pPr>
            <a:r>
              <a:rPr lang="en-IE" b="1" dirty="0">
                <a:solidFill>
                  <a:srgbClr val="FFFFFF"/>
                </a:solidFill>
                <a:latin typeface="+mj-lt"/>
                <a:ea typeface="+mj-ea"/>
                <a:cs typeface="Calibri Light"/>
              </a:rPr>
              <a:t>https://libguides.ucc.ie/openaccess</a:t>
            </a:r>
          </a:p>
          <a:p>
            <a:pPr marL="0" indent="0">
              <a:buNone/>
            </a:pPr>
            <a:r>
              <a:rPr lang="en-IE" b="1" dirty="0">
                <a:solidFill>
                  <a:srgbClr val="FFFFFF"/>
                </a:solidFill>
                <a:latin typeface="+mj-lt"/>
                <a:ea typeface="+mj-ea"/>
                <a:cs typeface="Calibri Light"/>
              </a:rPr>
              <a:t>donna.odoibhlin@ucc.ie / cora@ucc.ie</a:t>
            </a:r>
            <a:endParaRPr lang="en-IE" b="1" dirty="0">
              <a:solidFill>
                <a:srgbClr val="FFFFFF"/>
              </a:solidFill>
              <a:latin typeface="Calibri Light"/>
              <a:cs typeface="Calibri Light"/>
            </a:endParaRPr>
          </a:p>
          <a:p>
            <a:pPr marL="0" indent="0">
              <a:buNone/>
            </a:pPr>
            <a:endParaRPr lang="en-IE" sz="1500" dirty="0">
              <a:solidFill>
                <a:srgbClr val="FFFFFF"/>
              </a:solidFill>
              <a:latin typeface="Calibri" panose="020F0502020204030204"/>
              <a:ea typeface="+mj-ea"/>
              <a:cs typeface="Calibri" panose="020F0502020204030204"/>
            </a:endParaRPr>
          </a:p>
          <a:p>
            <a:pPr marL="0" indent="0">
              <a:buNone/>
            </a:pPr>
            <a:endParaRPr lang="en-IE" sz="1500" b="1" dirty="0">
              <a:solidFill>
                <a:srgbClr val="FFFFFF"/>
              </a:solidFill>
              <a:latin typeface="+mj-lt"/>
              <a:ea typeface="+mj-ea"/>
              <a:cs typeface="+mj-cs"/>
            </a:endParaRPr>
          </a:p>
          <a:p>
            <a:pPr marL="0" indent="0">
              <a:buNone/>
            </a:pPr>
            <a:endParaRPr lang="en-IE" sz="1500" b="1" dirty="0">
              <a:solidFill>
                <a:srgbClr val="FFFFFF"/>
              </a:solidFill>
              <a:latin typeface="+mj-lt"/>
              <a:ea typeface="+mj-ea"/>
              <a:cs typeface="+mj-cs"/>
            </a:endParaRPr>
          </a:p>
          <a:p>
            <a:pPr marL="0" indent="0">
              <a:buNone/>
            </a:pPr>
            <a:endParaRPr lang="en-IE" sz="1500" b="1" dirty="0">
              <a:solidFill>
                <a:srgbClr val="FFFFFF"/>
              </a:solidFill>
              <a:latin typeface="Calibri Light" panose="020F0302020204030204"/>
              <a:cs typeface="Calibri Light" panose="020F0302020204030204"/>
            </a:endParaRPr>
          </a:p>
          <a:p>
            <a:pPr marL="0" indent="0">
              <a:buNone/>
            </a:pPr>
            <a:endParaRPr lang="en-IE" sz="1500" dirty="0">
              <a:solidFill>
                <a:srgbClr val="FFFFFF"/>
              </a:solidFill>
            </a:endParaRPr>
          </a:p>
          <a:p>
            <a:pPr marL="0" indent="0">
              <a:buNone/>
            </a:pPr>
            <a:endParaRPr lang="en-IE" sz="1500" dirty="0">
              <a:solidFill>
                <a:srgbClr val="FFFFFF"/>
              </a:solidFill>
            </a:endParaRPr>
          </a:p>
          <a:p>
            <a:pPr marL="0" indent="0">
              <a:buNone/>
            </a:pPr>
            <a:endParaRPr lang="en-IE" sz="1500" dirty="0">
              <a:solidFill>
                <a:srgbClr val="FFFFFF"/>
              </a:solidFill>
              <a:cs typeface="Calibri" panose="020F0502020204030204"/>
            </a:endParaRPr>
          </a:p>
        </p:txBody>
      </p:sp>
      <p:pic>
        <p:nvPicPr>
          <p:cNvPr id="4" name="Picture 3">
            <a:extLst>
              <a:ext uri="{FF2B5EF4-FFF2-40B4-BE49-F238E27FC236}">
                <a16:creationId xmlns:a16="http://schemas.microsoft.com/office/drawing/2014/main" id="{CAA08852-909D-4111-A3D4-4F3A0C4BCF94}"/>
              </a:ext>
            </a:extLst>
          </p:cNvPr>
          <p:cNvPicPr>
            <a:picLocks noChangeAspect="1"/>
          </p:cNvPicPr>
          <p:nvPr/>
        </p:nvPicPr>
        <p:blipFill>
          <a:blip r:embed="rId3"/>
          <a:stretch>
            <a:fillRect/>
          </a:stretch>
        </p:blipFill>
        <p:spPr>
          <a:xfrm>
            <a:off x="8058521" y="329183"/>
            <a:ext cx="3565781" cy="2861541"/>
          </a:xfrm>
          <a:prstGeom prst="rect">
            <a:avLst/>
          </a:prstGeom>
        </p:spPr>
      </p:pic>
      <p:pic>
        <p:nvPicPr>
          <p:cNvPr id="6" name="Picture 5">
            <a:extLst>
              <a:ext uri="{FF2B5EF4-FFF2-40B4-BE49-F238E27FC236}">
                <a16:creationId xmlns:a16="http://schemas.microsoft.com/office/drawing/2014/main" id="{0419DB6F-4E8B-48CD-B13C-B75227327F93}"/>
              </a:ext>
            </a:extLst>
          </p:cNvPr>
          <p:cNvPicPr>
            <a:picLocks noChangeAspect="1"/>
          </p:cNvPicPr>
          <p:nvPr/>
        </p:nvPicPr>
        <p:blipFill>
          <a:blip r:embed="rId4"/>
          <a:stretch>
            <a:fillRect/>
          </a:stretch>
        </p:blipFill>
        <p:spPr>
          <a:xfrm>
            <a:off x="7834304" y="4332904"/>
            <a:ext cx="4014216" cy="1053732"/>
          </a:xfrm>
          <a:prstGeom prst="rect">
            <a:avLst/>
          </a:prstGeom>
        </p:spPr>
      </p:pic>
    </p:spTree>
    <p:extLst>
      <p:ext uri="{BB962C8B-B14F-4D97-AF65-F5344CB8AC3E}">
        <p14:creationId xmlns:p14="http://schemas.microsoft.com/office/powerpoint/2010/main" val="2073431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D1E57DD-A333-0C50-7A86-51CB306B0BD7}"/>
              </a:ext>
            </a:extLst>
          </p:cNvPr>
          <p:cNvSpPr>
            <a:spLocks noGrp="1"/>
          </p:cNvSpPr>
          <p:nvPr>
            <p:ph type="title"/>
          </p:nvPr>
        </p:nvSpPr>
        <p:spPr>
          <a:xfrm>
            <a:off x="838200" y="365125"/>
            <a:ext cx="10515600" cy="1325563"/>
          </a:xfrm>
        </p:spPr>
        <p:txBody>
          <a:bodyPr>
            <a:normAutofit/>
          </a:bodyPr>
          <a:lstStyle/>
          <a:p>
            <a:r>
              <a:rPr lang="en-IE" sz="4200" dirty="0">
                <a:hlinkClick r:id="rId3"/>
              </a:rPr>
              <a:t>Funder's open access policies</a:t>
            </a:r>
            <a:br>
              <a:rPr lang="en-IE" sz="4200" dirty="0"/>
            </a:br>
            <a:endParaRPr lang="en-IE" sz="4200" dirty="0"/>
          </a:p>
        </p:txBody>
      </p:sp>
      <p:sp>
        <p:nvSpPr>
          <p:cNvPr id="10"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5444A09-2F13-CD12-FF2C-48D4469F7827}"/>
              </a:ext>
            </a:extLst>
          </p:cNvPr>
          <p:cNvSpPr>
            <a:spLocks noGrp="1"/>
          </p:cNvSpPr>
          <p:nvPr>
            <p:ph idx="1"/>
          </p:nvPr>
        </p:nvSpPr>
        <p:spPr>
          <a:xfrm>
            <a:off x="184193" y="1718728"/>
            <a:ext cx="11815118" cy="4749071"/>
          </a:xfrm>
        </p:spPr>
        <p:txBody>
          <a:bodyPr vert="horz" lIns="91440" tIns="45720" rIns="91440" bIns="45720" rtlCol="0" anchor="t">
            <a:normAutofit fontScale="85000" lnSpcReduction="20000"/>
          </a:bodyPr>
          <a:lstStyle/>
          <a:p>
            <a:pPr marL="0" indent="0">
              <a:lnSpc>
                <a:spcPct val="120000"/>
              </a:lnSpc>
              <a:spcBef>
                <a:spcPts val="0"/>
              </a:spcBef>
              <a:buNone/>
              <a:defRPr/>
            </a:pPr>
            <a:endParaRPr lang="en-IE" sz="2000" b="1" i="1" u="none" strike="noStrike" kern="1200" cap="none" spc="0" normalizeH="0" baseline="0" noProof="0" dirty="0">
              <a:ln>
                <a:noFill/>
              </a:ln>
              <a:effectLst/>
              <a:uLnTx/>
              <a:uFillTx/>
              <a:latin typeface="Arial"/>
              <a:cs typeface="Arial"/>
            </a:endParaRPr>
          </a:p>
          <a:p>
            <a:pPr marL="342900" indent="-342900">
              <a:lnSpc>
                <a:spcPct val="120000"/>
              </a:lnSpc>
              <a:spcBef>
                <a:spcPts val="0"/>
              </a:spcBef>
              <a:buNone/>
              <a:defRPr/>
            </a:pPr>
            <a:r>
              <a:rPr lang="en-IE" sz="2400" b="1" dirty="0">
                <a:latin typeface="Arial"/>
                <a:cs typeface="Arial"/>
              </a:rPr>
              <a:t>NORF * - </a:t>
            </a:r>
            <a:r>
              <a:rPr lang="en-IE" sz="2400" b="1" dirty="0">
                <a:latin typeface="Arial"/>
                <a:cs typeface="Arial"/>
                <a:hlinkClick r:id="rId4">
                  <a:extLst>
                    <a:ext uri="{A12FA001-AC4F-418D-AE19-62706E023703}">
                      <ahyp:hlinkClr xmlns:ahyp="http://schemas.microsoft.com/office/drawing/2018/hyperlinkcolor" val="tx"/>
                    </a:ext>
                  </a:extLst>
                </a:hlinkClick>
              </a:rPr>
              <a:t>https://norf.ie/national-action-plan/</a:t>
            </a:r>
            <a:r>
              <a:rPr lang="en-IE" sz="2400" b="1" dirty="0">
                <a:latin typeface="Arial"/>
                <a:cs typeface="Arial"/>
              </a:rPr>
              <a:t> </a:t>
            </a:r>
          </a:p>
          <a:p>
            <a:pPr marL="342900" indent="-342900">
              <a:lnSpc>
                <a:spcPct val="100000"/>
              </a:lnSpc>
              <a:defRPr/>
            </a:pPr>
            <a:r>
              <a:rPr lang="en-IE" sz="2100" dirty="0">
                <a:latin typeface="Arial"/>
                <a:cs typeface="Arial"/>
              </a:rPr>
              <a:t>The National Action Plan is structured according to three themes: Establishing a culture of open research; achieving 100% open access to research publications; and enabling FAIR research data and other outputs.</a:t>
            </a:r>
          </a:p>
          <a:p>
            <a:pPr marL="342900" indent="-342900">
              <a:lnSpc>
                <a:spcPct val="100000"/>
              </a:lnSpc>
              <a:defRPr/>
            </a:pPr>
            <a:r>
              <a:rPr lang="en-IE" sz="2100" dirty="0">
                <a:latin typeface="Arial"/>
                <a:cs typeface="Arial"/>
              </a:rPr>
              <a:t>The National Action Plan has been endorsed by over 50 national and international stakeholder organisations</a:t>
            </a:r>
          </a:p>
          <a:p>
            <a:pPr marL="0" lvl="0" indent="0">
              <a:lnSpc>
                <a:spcPct val="120000"/>
              </a:lnSpc>
              <a:spcBef>
                <a:spcPts val="0"/>
              </a:spcBef>
              <a:buFontTx/>
              <a:buNone/>
              <a:defRPr/>
            </a:pPr>
            <a:endParaRPr lang="en-IE" sz="2100" i="1" dirty="0">
              <a:latin typeface="Arial"/>
              <a:cs typeface="Arial"/>
            </a:endParaRPr>
          </a:p>
          <a:p>
            <a:pPr marL="342900" marR="0" lvl="0" indent="-342900" defTabSz="914400" rtl="0" eaLnBrk="1" fontAlgn="auto" latinLnBrk="0" hangingPunct="1">
              <a:lnSpc>
                <a:spcPct val="120000"/>
              </a:lnSpc>
              <a:spcBef>
                <a:spcPts val="0"/>
              </a:spcBef>
              <a:spcAft>
                <a:spcPts val="0"/>
              </a:spcAft>
              <a:buClrTx/>
              <a:buSzTx/>
              <a:buFontTx/>
              <a:buNone/>
              <a:tabLst/>
              <a:defRPr/>
            </a:pPr>
            <a:r>
              <a:rPr kumimoji="0" lang="en-IE" sz="2300" b="1" i="0" u="none" strike="noStrike" kern="1200" cap="none" spc="0" normalizeH="0" baseline="0" noProof="0" dirty="0">
                <a:ln>
                  <a:noFill/>
                </a:ln>
                <a:effectLst/>
                <a:uLnTx/>
                <a:uFillTx/>
                <a:latin typeface="Arial"/>
                <a:ea typeface="+mn-ea"/>
                <a:cs typeface="Arial"/>
                <a:hlinkClick r:id="rId5"/>
              </a:rPr>
              <a:t>Coalition S </a:t>
            </a:r>
            <a:r>
              <a:rPr kumimoji="0" lang="en-IE" sz="2300" b="1" i="0" u="none" strike="noStrike" kern="1200" cap="none" spc="0" normalizeH="0" baseline="0" noProof="0" dirty="0">
                <a:ln>
                  <a:noFill/>
                </a:ln>
                <a:effectLst/>
                <a:uLnTx/>
                <a:uFillTx/>
                <a:latin typeface="Arial"/>
                <a:ea typeface="+mn-ea"/>
                <a:cs typeface="Arial"/>
              </a:rPr>
              <a:t>- </a:t>
            </a:r>
            <a:r>
              <a:rPr lang="en-IE" sz="2300" b="1" dirty="0">
                <a:latin typeface="Arial"/>
                <a:cs typeface="Arial"/>
                <a:hlinkClick r:id="rId6"/>
              </a:rPr>
              <a:t>Plan S</a:t>
            </a:r>
            <a:endParaRPr kumimoji="0" lang="en-IE" sz="2300" b="1" i="0" u="none" strike="noStrike" kern="1200" cap="none" spc="0" normalizeH="0" baseline="0" noProof="0" dirty="0">
              <a:ln>
                <a:noFill/>
              </a:ln>
              <a:effectLst/>
              <a:uLnTx/>
              <a:uFillTx/>
              <a:latin typeface="Arial"/>
              <a:ea typeface="+mn-ea"/>
              <a:cs typeface="Arial"/>
              <a:hlinkClick r:id="rId7"/>
            </a:endParaRPr>
          </a:p>
          <a:p>
            <a:pPr>
              <a:lnSpc>
                <a:spcPct val="110000"/>
              </a:lnSpc>
              <a:spcBef>
                <a:spcPts val="0"/>
              </a:spcBef>
              <a:defRPr/>
            </a:pPr>
            <a:r>
              <a:rPr lang="en-IE" sz="2100" dirty="0">
                <a:latin typeface="Arial"/>
                <a:cs typeface="Arial"/>
              </a:rPr>
              <a:t>“With effect from 2021, all scholarly publications on the results from research funded by public or private grants provided by national, regional and international research councils and funding bodies, must be published in Open Access Journals, on Open Access Platforms, or made immediately available through Open Access Repositories without embargo”</a:t>
            </a:r>
          </a:p>
          <a:p>
            <a:pPr marL="0" marR="0" lvl="0" indent="0" fontAlgn="auto">
              <a:lnSpc>
                <a:spcPct val="120000"/>
              </a:lnSpc>
              <a:spcBef>
                <a:spcPts val="0"/>
              </a:spcBef>
              <a:spcAft>
                <a:spcPts val="0"/>
              </a:spcAft>
              <a:buClrTx/>
              <a:buSzTx/>
              <a:buNone/>
              <a:tabLst/>
              <a:defRPr/>
            </a:pPr>
            <a:endParaRPr lang="en-IE" sz="2100" dirty="0">
              <a:latin typeface="Arial"/>
              <a:cs typeface="Arial"/>
            </a:endParaRPr>
          </a:p>
          <a:p>
            <a:pPr marL="0" marR="0" lvl="0" indent="0" fontAlgn="auto">
              <a:lnSpc>
                <a:spcPct val="120000"/>
              </a:lnSpc>
              <a:spcBef>
                <a:spcPts val="0"/>
              </a:spcBef>
              <a:spcAft>
                <a:spcPts val="0"/>
              </a:spcAft>
              <a:buClrTx/>
              <a:buSzTx/>
              <a:buNone/>
              <a:tabLst/>
              <a:defRPr/>
            </a:pPr>
            <a:r>
              <a:rPr lang="en-IE" sz="2300" b="1" dirty="0">
                <a:latin typeface="Arial"/>
                <a:cs typeface="Arial"/>
                <a:hlinkClick r:id="rId8"/>
              </a:rPr>
              <a:t>Horizon Europe</a:t>
            </a:r>
            <a:endParaRPr lang="en-IE" sz="2300" b="1" dirty="0">
              <a:latin typeface="Arial"/>
              <a:cs typeface="Arial"/>
            </a:endParaRPr>
          </a:p>
          <a:p>
            <a:pPr marR="0" lvl="0" fontAlgn="auto">
              <a:lnSpc>
                <a:spcPct val="110000"/>
              </a:lnSpc>
              <a:spcBef>
                <a:spcPts val="0"/>
              </a:spcBef>
              <a:spcAft>
                <a:spcPts val="0"/>
              </a:spcAft>
              <a:buClrTx/>
              <a:buSzTx/>
              <a:tabLst/>
              <a:defRPr/>
            </a:pPr>
            <a:r>
              <a:rPr lang="en-IE" sz="2100" dirty="0">
                <a:latin typeface="Arial"/>
                <a:cs typeface="Arial"/>
              </a:rPr>
              <a:t>All peer-reviewed scientific publications arising from Horizon Europe funding have to be made available in open access. This implies that publications are to be made freely available online, immediately upon publication and with no restrictions on use, by depositing them on a repository. You should be aware that you are required to retain sufficient intellectual property rights (IPR) to comply with these open access obligations.</a:t>
            </a:r>
          </a:p>
          <a:p>
            <a:pPr marL="0" marR="0" lvl="0" indent="0" fontAlgn="auto">
              <a:spcBef>
                <a:spcPts val="0"/>
              </a:spcBef>
              <a:spcAft>
                <a:spcPts val="0"/>
              </a:spcAft>
              <a:buClrTx/>
              <a:buSzTx/>
              <a:buNone/>
              <a:tabLst/>
              <a:defRPr/>
            </a:pPr>
            <a:endParaRPr lang="en-IE" sz="1900" dirty="0">
              <a:latin typeface="Arial"/>
              <a:cs typeface="Arial"/>
            </a:endParaRPr>
          </a:p>
          <a:p>
            <a:pPr marL="457200" marR="0" lvl="1" indent="0" defTabSz="914400" rtl="0" eaLnBrk="1" fontAlgn="auto" latinLnBrk="0" hangingPunct="1">
              <a:spcBef>
                <a:spcPts val="0"/>
              </a:spcBef>
              <a:spcAft>
                <a:spcPts val="0"/>
              </a:spcAft>
              <a:buClrTx/>
              <a:buSzTx/>
              <a:buFontTx/>
              <a:buNone/>
              <a:tabLst/>
              <a:defRPr/>
            </a:pPr>
            <a:endParaRPr kumimoji="0" lang="en-IE" sz="1900" b="0" i="1" u="none" strike="noStrike" kern="1200" cap="none" spc="0" normalizeH="0" baseline="0" noProof="0" dirty="0">
              <a:ln>
                <a:noFill/>
              </a:ln>
              <a:effectLst/>
              <a:uLnTx/>
              <a:uFillTx/>
              <a:latin typeface="Arial"/>
              <a:ea typeface="+mn-ea"/>
              <a:cs typeface="Arial"/>
            </a:endParaRPr>
          </a:p>
          <a:p>
            <a:endParaRPr lang="en-IE" sz="1700" dirty="0"/>
          </a:p>
        </p:txBody>
      </p:sp>
    </p:spTree>
    <p:extLst>
      <p:ext uri="{BB962C8B-B14F-4D97-AF65-F5344CB8AC3E}">
        <p14:creationId xmlns:p14="http://schemas.microsoft.com/office/powerpoint/2010/main" val="1295005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D1E57DD-A333-0C50-7A86-51CB306B0BD7}"/>
              </a:ext>
            </a:extLst>
          </p:cNvPr>
          <p:cNvSpPr>
            <a:spLocks noGrp="1"/>
          </p:cNvSpPr>
          <p:nvPr>
            <p:ph type="title"/>
          </p:nvPr>
        </p:nvSpPr>
        <p:spPr>
          <a:xfrm>
            <a:off x="838200" y="365125"/>
            <a:ext cx="10515600" cy="1325563"/>
          </a:xfrm>
        </p:spPr>
        <p:txBody>
          <a:bodyPr>
            <a:normAutofit/>
          </a:bodyPr>
          <a:lstStyle/>
          <a:p>
            <a:r>
              <a:rPr lang="en-IE" sz="4200" dirty="0"/>
              <a:t>Funder's open access policies</a:t>
            </a:r>
            <a:br>
              <a:rPr lang="en-IE" sz="4200" dirty="0"/>
            </a:br>
            <a:endParaRPr lang="en-IE" sz="4200" dirty="0"/>
          </a:p>
        </p:txBody>
      </p:sp>
      <p:sp>
        <p:nvSpPr>
          <p:cNvPr id="10"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5444A09-2F13-CD12-FF2C-48D4469F7827}"/>
              </a:ext>
            </a:extLst>
          </p:cNvPr>
          <p:cNvSpPr>
            <a:spLocks noGrp="1"/>
          </p:cNvSpPr>
          <p:nvPr>
            <p:ph idx="1"/>
          </p:nvPr>
        </p:nvSpPr>
        <p:spPr>
          <a:xfrm>
            <a:off x="247135" y="1791730"/>
            <a:ext cx="11731752" cy="4942701"/>
          </a:xfrm>
        </p:spPr>
        <p:txBody>
          <a:bodyPr>
            <a:noAutofit/>
          </a:bodyPr>
          <a:lstStyle/>
          <a:p>
            <a:pPr marL="342900" marR="0" lvl="0" indent="-342900" defTabSz="914400" rtl="0" eaLnBrk="1" fontAlgn="auto" latinLnBrk="0" hangingPunct="1">
              <a:spcBef>
                <a:spcPts val="0"/>
              </a:spcBef>
              <a:spcAft>
                <a:spcPts val="0"/>
              </a:spcAft>
              <a:buClrTx/>
              <a:buSzTx/>
              <a:buFontTx/>
              <a:buNone/>
              <a:tabLst/>
              <a:defRPr/>
            </a:pPr>
            <a:r>
              <a:rPr kumimoji="0" lang="en-IE" sz="1800" b="1" u="none" strike="noStrike" kern="1200" cap="none" spc="0" normalizeH="0" baseline="0" noProof="0" dirty="0">
                <a:ln>
                  <a:noFill/>
                </a:ln>
                <a:effectLst/>
                <a:uLnTx/>
                <a:uFillTx/>
                <a:latin typeface="Arial"/>
                <a:ea typeface="+mn-ea"/>
                <a:cs typeface="Arial"/>
                <a:hlinkClick r:id="rId3"/>
              </a:rPr>
              <a:t>European Research Council Open Access Policy</a:t>
            </a:r>
            <a:endParaRPr kumimoji="0" lang="en-IE" sz="1800" b="1" u="none" strike="noStrike" kern="1200" cap="none" spc="0" normalizeH="0" baseline="0" noProof="0" dirty="0">
              <a:ln>
                <a:noFill/>
              </a:ln>
              <a:effectLst/>
              <a:uLnTx/>
              <a:uFillTx/>
              <a:latin typeface="Arial"/>
              <a:ea typeface="+mn-ea"/>
              <a:cs typeface="Arial"/>
            </a:endParaRPr>
          </a:p>
          <a:p>
            <a:pPr marL="342900" marR="0" lvl="0" indent="-342900" defTabSz="914400" rtl="0" eaLnBrk="1" fontAlgn="auto" latinLnBrk="0" hangingPunct="1">
              <a:spcBef>
                <a:spcPts val="0"/>
              </a:spcBef>
              <a:spcAft>
                <a:spcPts val="0"/>
              </a:spcAft>
              <a:buClrTx/>
              <a:buSzTx/>
              <a:buFontTx/>
              <a:buNone/>
              <a:tabLst/>
              <a:defRPr/>
            </a:pPr>
            <a:endParaRPr kumimoji="0" lang="en-US" sz="1800" b="0" u="none" strike="noStrike" kern="1200" cap="none" spc="0" normalizeH="0" baseline="0" noProof="0" dirty="0">
              <a:ln>
                <a:noFill/>
              </a:ln>
              <a:effectLst/>
              <a:uLnTx/>
              <a:uFillTx/>
              <a:latin typeface="Arial"/>
              <a:ea typeface="+mn-ea"/>
              <a:cs typeface="Arial"/>
            </a:endParaRPr>
          </a:p>
          <a:p>
            <a:pPr marL="0" marR="0" lvl="0" indent="0" defTabSz="914400" rtl="0" eaLnBrk="1" fontAlgn="auto" latinLnBrk="0" hangingPunct="1">
              <a:spcBef>
                <a:spcPts val="0"/>
              </a:spcBef>
              <a:spcAft>
                <a:spcPts val="0"/>
              </a:spcAft>
              <a:buClrTx/>
              <a:buSzTx/>
              <a:buFontTx/>
              <a:buNone/>
              <a:tabLst/>
              <a:defRPr/>
            </a:pPr>
            <a:r>
              <a:rPr kumimoji="0" lang="en-IE" sz="1600" b="0" u="none" strike="noStrike" kern="1200" cap="none" spc="0" normalizeH="0" baseline="0" noProof="0" dirty="0">
                <a:ln>
                  <a:noFill/>
                </a:ln>
                <a:effectLst/>
                <a:uLnTx/>
                <a:uFillTx/>
                <a:latin typeface="Arial"/>
                <a:ea typeface="+mn-ea"/>
                <a:cs typeface="Arial"/>
              </a:rPr>
              <a:t>The ERC supports the principle of open access to the published output of research as a fundamental part of its mission &amp;</a:t>
            </a:r>
          </a:p>
          <a:p>
            <a:pPr marL="0" marR="0" lvl="0" indent="0" defTabSz="914400" rtl="0" eaLnBrk="1" fontAlgn="auto" latinLnBrk="0" hangingPunct="1">
              <a:spcBef>
                <a:spcPts val="0"/>
              </a:spcBef>
              <a:spcAft>
                <a:spcPts val="0"/>
              </a:spcAft>
              <a:buClrTx/>
              <a:buSzTx/>
              <a:buFontTx/>
              <a:buNone/>
              <a:tabLst/>
              <a:defRPr/>
            </a:pPr>
            <a:endParaRPr lang="en-IE" sz="1600" dirty="0">
              <a:latin typeface="Arial"/>
              <a:cs typeface="Arial"/>
            </a:endParaRPr>
          </a:p>
          <a:p>
            <a:pPr>
              <a:spcBef>
                <a:spcPts val="0"/>
              </a:spcBef>
              <a:defRPr/>
            </a:pPr>
            <a:r>
              <a:rPr kumimoji="0" lang="en-IE" sz="1600" b="0" u="none" strike="noStrike" kern="1200" cap="none" spc="0" normalizeH="0" baseline="0" noProof="0" dirty="0">
                <a:ln>
                  <a:noFill/>
                </a:ln>
                <a:effectLst/>
                <a:uLnTx/>
                <a:uFillTx/>
                <a:latin typeface="Arial"/>
                <a:ea typeface="+mn-ea"/>
                <a:cs typeface="Arial"/>
              </a:rPr>
              <a:t>Require that an electronic copy of any research article, monograph or other research publication that is supported in whole, or in part, by ERC funding be deposited in a suitable repository immediately upon publication, and that open access be provided to that copy under the terms of the applicable Model Grant Agreement used for ERC actions;</a:t>
            </a:r>
          </a:p>
          <a:p>
            <a:pPr>
              <a:spcBef>
                <a:spcPts val="0"/>
              </a:spcBef>
              <a:defRPr/>
            </a:pPr>
            <a:r>
              <a:rPr lang="en-IE" sz="1600" dirty="0">
                <a:latin typeface="Arial"/>
                <a:cs typeface="Arial"/>
              </a:rPr>
              <a:t>S</a:t>
            </a:r>
            <a:r>
              <a:rPr kumimoji="0" lang="en-IE" sz="1600" b="0" u="none" strike="noStrike" kern="1200" cap="none" spc="0" normalizeH="0" baseline="0" noProof="0" dirty="0" err="1">
                <a:ln>
                  <a:noFill/>
                </a:ln>
                <a:effectLst/>
                <a:uLnTx/>
                <a:uFillTx/>
                <a:latin typeface="Arial"/>
                <a:ea typeface="+mn-ea"/>
                <a:cs typeface="Arial"/>
              </a:rPr>
              <a:t>trongly</a:t>
            </a:r>
            <a:r>
              <a:rPr kumimoji="0" lang="en-IE" sz="1600" b="0" u="none" strike="noStrike" kern="1200" cap="none" spc="0" normalizeH="0" baseline="0" noProof="0" dirty="0">
                <a:ln>
                  <a:noFill/>
                </a:ln>
                <a:effectLst/>
                <a:uLnTx/>
                <a:uFillTx/>
                <a:latin typeface="Arial"/>
                <a:ea typeface="+mn-ea"/>
                <a:cs typeface="Arial"/>
              </a:rPr>
              <a:t> encourage ERC funded researchers to use domain-specific or discipline-specific repositories for their publications</a:t>
            </a:r>
          </a:p>
          <a:p>
            <a:pPr marL="0" indent="0">
              <a:spcBef>
                <a:spcPts val="0"/>
              </a:spcBef>
              <a:buNone/>
              <a:defRPr/>
            </a:pPr>
            <a:endParaRPr kumimoji="0" lang="en-IE" sz="1800" b="0" u="none" strike="noStrike" kern="1200" cap="none" spc="0" normalizeH="0" baseline="0" noProof="0" dirty="0">
              <a:ln>
                <a:noFill/>
              </a:ln>
              <a:effectLst/>
              <a:uLnTx/>
              <a:uFillTx/>
              <a:latin typeface="Arial"/>
              <a:ea typeface="+mn-ea"/>
              <a:cs typeface="Arial"/>
            </a:endParaRPr>
          </a:p>
          <a:p>
            <a:pPr marL="0" indent="0">
              <a:spcBef>
                <a:spcPts val="0"/>
              </a:spcBef>
              <a:buNone/>
              <a:defRPr/>
            </a:pPr>
            <a:r>
              <a:rPr lang="en-IE" sz="1800" b="1" dirty="0">
                <a:latin typeface="Arial"/>
                <a:cs typeface="Arial"/>
                <a:hlinkClick r:id="rId4"/>
              </a:rPr>
              <a:t>IRC Open Access Policy </a:t>
            </a:r>
            <a:endParaRPr lang="en-IE" sz="1800" b="1" dirty="0">
              <a:latin typeface="Arial"/>
              <a:cs typeface="Arial"/>
            </a:endParaRPr>
          </a:p>
          <a:p>
            <a:pPr marL="0" indent="0">
              <a:spcBef>
                <a:spcPts val="0"/>
              </a:spcBef>
              <a:buNone/>
              <a:defRPr/>
            </a:pPr>
            <a:endParaRPr kumimoji="0" lang="en-IE" sz="1800" b="0" u="none" strike="noStrike" kern="1200" cap="none" spc="0" normalizeH="0" baseline="0" noProof="0" dirty="0">
              <a:ln>
                <a:noFill/>
              </a:ln>
              <a:effectLst/>
              <a:uLnTx/>
              <a:uFillTx/>
              <a:latin typeface="Arial"/>
              <a:ea typeface="+mn-ea"/>
              <a:cs typeface="Arial"/>
            </a:endParaRPr>
          </a:p>
          <a:p>
            <a:pPr>
              <a:spcBef>
                <a:spcPts val="0"/>
              </a:spcBef>
              <a:defRPr/>
            </a:pPr>
            <a:r>
              <a:rPr lang="en-IE" sz="1600" dirty="0">
                <a:latin typeface="Arial"/>
                <a:cs typeface="Arial"/>
              </a:rPr>
              <a:t>All researchers must lodge their publications and other research outputs, resulting in whole or in part from Council-funded research, in an open access repository and should make such publications publicly discoverable, openly accessible and re-usable as soon as is possible.</a:t>
            </a:r>
          </a:p>
          <a:p>
            <a:pPr>
              <a:spcBef>
                <a:spcPts val="0"/>
              </a:spcBef>
              <a:defRPr/>
            </a:pPr>
            <a:r>
              <a:rPr lang="en-IE" sz="1600" dirty="0">
                <a:latin typeface="Arial"/>
                <a:cs typeface="Arial"/>
              </a:rPr>
              <a:t>Repositories should release the metadata immediately upon deposit.  Open Access to the full text paper should be made immediately upon deposit or once access restrictions, as required by certain publishers, have expired.</a:t>
            </a:r>
          </a:p>
          <a:p>
            <a:pPr marL="0" indent="0">
              <a:spcBef>
                <a:spcPts val="0"/>
              </a:spcBef>
              <a:buNone/>
              <a:defRPr/>
            </a:pPr>
            <a:endParaRPr kumimoji="0" lang="en-IE" sz="1800" b="0" u="none" strike="noStrike" kern="1200" cap="none" spc="0" normalizeH="0" baseline="0" noProof="0" dirty="0">
              <a:ln>
                <a:noFill/>
              </a:ln>
              <a:effectLst/>
              <a:uLnTx/>
              <a:uFillTx/>
              <a:latin typeface="Arial"/>
              <a:ea typeface="+mn-ea"/>
              <a:cs typeface="Arial"/>
            </a:endParaRPr>
          </a:p>
          <a:p>
            <a:pPr marL="342900" marR="0" lvl="0" indent="-342900" algn="l" defTabSz="914400" rtl="0" eaLnBrk="1" fontAlgn="auto" latinLnBrk="0" hangingPunct="1">
              <a:lnSpc>
                <a:spcPct val="90000"/>
              </a:lnSpc>
              <a:spcBef>
                <a:spcPts val="0"/>
              </a:spcBef>
              <a:spcAft>
                <a:spcPts val="0"/>
              </a:spcAft>
              <a:buClrTx/>
              <a:buSzTx/>
              <a:buFontTx/>
              <a:buNone/>
              <a:tabLst/>
              <a:defRPr/>
            </a:pPr>
            <a:r>
              <a:rPr kumimoji="0" lang="en-IE" sz="2000" b="1" i="0" u="none" strike="noStrike" kern="1200" cap="none" spc="0" normalizeH="0" baseline="0" noProof="0" dirty="0" err="1">
                <a:ln>
                  <a:noFill/>
                </a:ln>
                <a:solidFill>
                  <a:prstClr val="black"/>
                </a:solidFill>
                <a:effectLst/>
                <a:uLnTx/>
                <a:uFillTx/>
                <a:latin typeface="Arial"/>
                <a:ea typeface="+mn-ea"/>
                <a:cs typeface="Arial"/>
                <a:hlinkClick r:id="rId5"/>
              </a:rPr>
              <a:t>Wellcome</a:t>
            </a:r>
            <a:r>
              <a:rPr kumimoji="0" lang="en-IE" sz="2000" b="1" i="0" u="none" strike="noStrike" kern="1200" cap="none" spc="0" normalizeH="0" baseline="0" noProof="0" dirty="0">
                <a:ln>
                  <a:noFill/>
                </a:ln>
                <a:solidFill>
                  <a:prstClr val="black"/>
                </a:solidFill>
                <a:effectLst/>
                <a:uLnTx/>
                <a:uFillTx/>
                <a:latin typeface="Arial"/>
                <a:ea typeface="+mn-ea"/>
                <a:cs typeface="Arial"/>
                <a:hlinkClick r:id="rId5"/>
              </a:rPr>
              <a:t> Trust Open Access Policy</a:t>
            </a:r>
            <a:endParaRPr kumimoji="0" lang="en-IE" sz="2000" b="1" i="0" u="none" strike="noStrike" kern="1200" cap="none" spc="0" normalizeH="0" baseline="0" noProof="0" dirty="0">
              <a:ln>
                <a:noFill/>
              </a:ln>
              <a:solidFill>
                <a:prstClr val="black"/>
              </a:solidFill>
              <a:effectLst/>
              <a:uLnTx/>
              <a:uFillTx/>
              <a:latin typeface="Arial"/>
              <a:ea typeface="+mn-ea"/>
              <a:cs typeface="Arial"/>
            </a:endParaRPr>
          </a:p>
          <a:p>
            <a:pPr marR="0" lvl="0" fontAlgn="auto">
              <a:spcBef>
                <a:spcPts val="0"/>
              </a:spcBef>
              <a:spcAft>
                <a:spcPts val="0"/>
              </a:spcAft>
              <a:buClrTx/>
              <a:buSzTx/>
              <a:tabLst/>
              <a:defRPr/>
            </a:pPr>
            <a:endParaRPr lang="en-IE" sz="1600" dirty="0">
              <a:latin typeface="Arial"/>
              <a:cs typeface="Arial"/>
            </a:endParaRPr>
          </a:p>
          <a:p>
            <a:pPr marR="0" lvl="0" fontAlgn="auto">
              <a:spcBef>
                <a:spcPts val="0"/>
              </a:spcBef>
              <a:spcAft>
                <a:spcPts val="0"/>
              </a:spcAft>
              <a:buClrTx/>
              <a:buSzTx/>
              <a:tabLst/>
              <a:defRPr/>
            </a:pPr>
            <a:r>
              <a:rPr lang="en-IE" sz="1600" dirty="0">
                <a:latin typeface="Arial"/>
                <a:cs typeface="Arial"/>
              </a:rPr>
              <a:t>Published outputs that arise from our funding must be open and accessible to everyone. This open access policy applies to all original, peer-reviewed research publications that have been supported, in whole or in part, by </a:t>
            </a:r>
            <a:r>
              <a:rPr lang="en-IE" sz="1600" dirty="0" err="1">
                <a:latin typeface="Arial"/>
                <a:cs typeface="Arial"/>
              </a:rPr>
              <a:t>Wellcome</a:t>
            </a:r>
            <a:r>
              <a:rPr lang="en-IE" sz="1600" dirty="0">
                <a:latin typeface="Arial"/>
                <a:cs typeface="Arial"/>
              </a:rPr>
              <a:t>.</a:t>
            </a:r>
            <a:endParaRPr lang="en-US" sz="1600" dirty="0">
              <a:latin typeface="Arial"/>
              <a:cs typeface="Arial"/>
            </a:endParaRPr>
          </a:p>
          <a:p>
            <a:pPr marL="342900" marR="0" lvl="0" indent="-342900"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Arial"/>
            </a:endParaRPr>
          </a:p>
        </p:txBody>
      </p:sp>
    </p:spTree>
    <p:extLst>
      <p:ext uri="{BB962C8B-B14F-4D97-AF65-F5344CB8AC3E}">
        <p14:creationId xmlns:p14="http://schemas.microsoft.com/office/powerpoint/2010/main" val="1253201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D1E57DD-A333-0C50-7A86-51CB306B0BD7}"/>
              </a:ext>
            </a:extLst>
          </p:cNvPr>
          <p:cNvSpPr>
            <a:spLocks noGrp="1"/>
          </p:cNvSpPr>
          <p:nvPr>
            <p:ph type="title"/>
          </p:nvPr>
        </p:nvSpPr>
        <p:spPr>
          <a:xfrm>
            <a:off x="566351" y="261067"/>
            <a:ext cx="10515600" cy="1325563"/>
          </a:xfrm>
        </p:spPr>
        <p:txBody>
          <a:bodyPr>
            <a:normAutofit/>
          </a:bodyPr>
          <a:lstStyle/>
          <a:p>
            <a:r>
              <a:rPr lang="en-IE" sz="4200" dirty="0"/>
              <a:t>Funder's open access policies</a:t>
            </a:r>
          </a:p>
        </p:txBody>
      </p:sp>
      <p:sp>
        <p:nvSpPr>
          <p:cNvPr id="10"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5444A09-2F13-CD12-FF2C-48D4469F7827}"/>
              </a:ext>
            </a:extLst>
          </p:cNvPr>
          <p:cNvSpPr>
            <a:spLocks noGrp="1"/>
          </p:cNvSpPr>
          <p:nvPr>
            <p:ph idx="1"/>
          </p:nvPr>
        </p:nvSpPr>
        <p:spPr>
          <a:xfrm>
            <a:off x="458971" y="1847696"/>
            <a:ext cx="11519916" cy="4886735"/>
          </a:xfrm>
        </p:spPr>
        <p:txBody>
          <a:bodyPr>
            <a:noAutofit/>
          </a:bodyPr>
          <a:lstStyle/>
          <a:p>
            <a:pPr marL="342900" marR="0" lvl="0" indent="-342900" defTabSz="914400" rtl="0" eaLnBrk="1" fontAlgn="auto" latinLnBrk="0" hangingPunct="1">
              <a:spcBef>
                <a:spcPts val="0"/>
              </a:spcBef>
              <a:spcAft>
                <a:spcPts val="0"/>
              </a:spcAft>
              <a:buClrTx/>
              <a:buSzTx/>
              <a:buFontTx/>
              <a:buNone/>
              <a:tabLst/>
              <a:defRPr/>
            </a:pPr>
            <a:r>
              <a:rPr kumimoji="0" lang="en-IE" sz="1800" b="1" u="none" strike="noStrike" kern="1200" cap="none" spc="0" normalizeH="0" baseline="0" noProof="0" dirty="0">
                <a:ln>
                  <a:noFill/>
                </a:ln>
                <a:effectLst/>
                <a:uLnTx/>
                <a:uFillTx/>
                <a:latin typeface="Arial"/>
                <a:ea typeface="+mn-ea"/>
                <a:cs typeface="Arial"/>
                <a:hlinkClick r:id="rId3"/>
              </a:rPr>
              <a:t>SFI Open Access Policy</a:t>
            </a:r>
          </a:p>
          <a:p>
            <a:pPr marL="342900" marR="0" lvl="0" indent="-342900" defTabSz="914400" rtl="0" eaLnBrk="1" fontAlgn="auto" latinLnBrk="0" hangingPunct="1">
              <a:spcBef>
                <a:spcPts val="0"/>
              </a:spcBef>
              <a:spcAft>
                <a:spcPts val="0"/>
              </a:spcAft>
              <a:buClrTx/>
              <a:buSzTx/>
              <a:buFontTx/>
              <a:buNone/>
              <a:tabLst/>
              <a:defRPr/>
            </a:pPr>
            <a:endParaRPr lang="en-IE" sz="1800" b="1" dirty="0">
              <a:latin typeface="Arial"/>
              <a:cs typeface="Arial"/>
            </a:endParaRPr>
          </a:p>
          <a:p>
            <a:pPr marL="0" marR="0" lvl="0" indent="0" fontAlgn="auto">
              <a:spcBef>
                <a:spcPts val="0"/>
              </a:spcBef>
              <a:spcAft>
                <a:spcPts val="0"/>
              </a:spcAft>
              <a:buClrTx/>
              <a:buSzTx/>
              <a:buNone/>
              <a:tabLst/>
              <a:defRPr/>
            </a:pPr>
            <a:r>
              <a:rPr lang="en-IE" sz="1800" dirty="0">
                <a:solidFill>
                  <a:prstClr val="black"/>
                </a:solidFill>
                <a:latin typeface="Arial"/>
                <a:cs typeface="Arial"/>
              </a:rPr>
              <a:t>SFI now requires all peer-reviewed articles and conference proceedings submitted for publication after 1st January 2021 to be made openly accessible immediately from the date of publication. This requirement also applies to other funding agencies that have endorsed </a:t>
            </a:r>
            <a:r>
              <a:rPr lang="en-IE" sz="1800" dirty="0" err="1">
                <a:solidFill>
                  <a:prstClr val="black"/>
                </a:solidFill>
                <a:latin typeface="Arial"/>
                <a:cs typeface="Arial"/>
              </a:rPr>
              <a:t>cOAlition</a:t>
            </a:r>
            <a:r>
              <a:rPr lang="en-IE" sz="1800" dirty="0">
                <a:solidFill>
                  <a:prstClr val="black"/>
                </a:solidFill>
                <a:latin typeface="Arial"/>
                <a:cs typeface="Arial"/>
              </a:rPr>
              <a:t> S / Plan S e.g. </a:t>
            </a:r>
            <a:r>
              <a:rPr lang="en-IE" sz="1800" dirty="0" err="1">
                <a:solidFill>
                  <a:prstClr val="black"/>
                </a:solidFill>
                <a:latin typeface="Arial"/>
                <a:cs typeface="Arial"/>
              </a:rPr>
              <a:t>Wellcome</a:t>
            </a:r>
            <a:r>
              <a:rPr lang="en-IE" sz="1800" dirty="0">
                <a:solidFill>
                  <a:prstClr val="black"/>
                </a:solidFill>
                <a:latin typeface="Arial"/>
                <a:cs typeface="Arial"/>
              </a:rPr>
              <a:t> Trust. Coalition S</a:t>
            </a:r>
            <a:endParaRPr lang="en-IE" sz="1800" dirty="0">
              <a:solidFill>
                <a:prstClr val="black"/>
              </a:solidFill>
              <a:latin typeface="Arial"/>
              <a:cs typeface="Arial"/>
              <a:hlinkClick r:id="rId3">
                <a:extLst>
                  <a:ext uri="{A12FA001-AC4F-418D-AE19-62706E023703}">
                    <ahyp:hlinkClr xmlns:ahyp="http://schemas.microsoft.com/office/drawing/2018/hyperlinkcolor" val="tx"/>
                  </a:ext>
                </a:extLst>
              </a:hlinkClick>
            </a:endParaRPr>
          </a:p>
          <a:p>
            <a:pPr marL="342900" marR="0" lvl="0" indent="-342900" defTabSz="914400" rtl="0" eaLnBrk="1" fontAlgn="auto" latinLnBrk="0" hangingPunct="1">
              <a:spcBef>
                <a:spcPts val="0"/>
              </a:spcBef>
              <a:spcAft>
                <a:spcPts val="0"/>
              </a:spcAft>
              <a:buClrTx/>
              <a:buSzTx/>
              <a:buFontTx/>
              <a:buNone/>
              <a:tabLst/>
              <a:defRPr/>
            </a:pPr>
            <a:endParaRPr kumimoji="0" lang="en-IE" sz="1800" b="1" u="none" strike="noStrike" kern="1200" cap="none" spc="0" normalizeH="0" baseline="0" noProof="0" dirty="0">
              <a:ln>
                <a:noFill/>
              </a:ln>
              <a:effectLst/>
              <a:uLnTx/>
              <a:uFillTx/>
              <a:latin typeface="Arial"/>
              <a:ea typeface="+mn-ea"/>
              <a:cs typeface="Arial"/>
              <a:hlinkClick r:id="rId3"/>
            </a:endParaRPr>
          </a:p>
          <a:p>
            <a:pPr marL="342900" marR="0" lvl="0" indent="-342900" defTabSz="914400" rtl="0" eaLnBrk="1" fontAlgn="auto" latinLnBrk="0" hangingPunct="1">
              <a:spcBef>
                <a:spcPts val="0"/>
              </a:spcBef>
              <a:spcAft>
                <a:spcPts val="0"/>
              </a:spcAft>
              <a:buClrTx/>
              <a:buSzTx/>
              <a:buFontTx/>
              <a:buNone/>
              <a:tabLst/>
              <a:defRPr/>
            </a:pPr>
            <a:r>
              <a:rPr kumimoji="0" lang="en-IE" sz="1800" b="1" u="none" strike="noStrike" kern="1200" cap="none" spc="0" normalizeH="0" baseline="0" noProof="0" dirty="0">
                <a:ln>
                  <a:noFill/>
                </a:ln>
                <a:effectLst/>
                <a:uLnTx/>
                <a:uFillTx/>
                <a:latin typeface="Arial"/>
                <a:ea typeface="+mn-ea"/>
                <a:cs typeface="Arial"/>
                <a:hlinkClick r:id="rId3"/>
              </a:rPr>
              <a:t>Environmental Protection Agency (EPA) Open Access Policy</a:t>
            </a:r>
            <a:endParaRPr kumimoji="0" lang="en-IE" sz="1800" b="1" u="none" strike="noStrike" kern="1200" cap="none" spc="0" normalizeH="0" baseline="0" noProof="0" dirty="0">
              <a:ln>
                <a:noFill/>
              </a:ln>
              <a:effectLst/>
              <a:uLnTx/>
              <a:uFillTx/>
              <a:latin typeface="Arial"/>
              <a:ea typeface="+mn-ea"/>
              <a:cs typeface="Arial"/>
            </a:endParaRPr>
          </a:p>
          <a:p>
            <a:pPr marL="342900" marR="0" lvl="0" indent="-342900" defTabSz="914400" rtl="0" eaLnBrk="1" fontAlgn="auto" latinLnBrk="0" hangingPunct="1">
              <a:spcBef>
                <a:spcPts val="0"/>
              </a:spcBef>
              <a:spcAft>
                <a:spcPts val="0"/>
              </a:spcAft>
              <a:buClrTx/>
              <a:buSzTx/>
              <a:buFontTx/>
              <a:buNone/>
              <a:tabLst/>
              <a:defRPr/>
            </a:pPr>
            <a:endParaRPr kumimoji="0" lang="en-IE" sz="1800" b="1" u="none" strike="noStrike" kern="1200" cap="none" spc="0" normalizeH="0" baseline="0" noProof="0" dirty="0">
              <a:ln>
                <a:noFill/>
              </a:ln>
              <a:effectLst/>
              <a:uLnTx/>
              <a:uFillTx/>
              <a:latin typeface="Arial"/>
              <a:ea typeface="+mn-ea"/>
              <a:cs typeface="Arial"/>
            </a:endParaRPr>
          </a:p>
          <a:p>
            <a:pPr marL="0" indent="0">
              <a:spcBef>
                <a:spcPts val="0"/>
              </a:spcBef>
              <a:buNone/>
              <a:defRPr/>
            </a:pPr>
            <a:r>
              <a:rPr lang="en-IE" sz="1800" dirty="0">
                <a:solidFill>
                  <a:prstClr val="black"/>
                </a:solidFill>
                <a:latin typeface="Arial"/>
                <a:cs typeface="Arial"/>
              </a:rPr>
              <a:t>All projects funded by the EPA Research Programme are required to ensure open access to all peer-reviewed publications resulting from EPA funding. This must be done by depositing your peer reviewed manuscript in an open access repository as agreed with the EPA.  You are also encouraged to publish in reputable open access journals. Please note however, the communications budget may only be used for Gold Open Access in exceptional circumstances, subject to prior approval by the EPA. Expenditure on Gold Open Access that has not had the prior approval of the EPA will be deemed ineligible.</a:t>
            </a:r>
          </a:p>
          <a:p>
            <a:pPr marL="0" indent="0">
              <a:spcBef>
                <a:spcPts val="0"/>
              </a:spcBef>
              <a:buNone/>
              <a:defRPr/>
            </a:pPr>
            <a:endParaRPr lang="en-IE" sz="1800" dirty="0">
              <a:solidFill>
                <a:prstClr val="black"/>
              </a:solidFill>
              <a:latin typeface="Arial"/>
              <a:cs typeface="Arial"/>
            </a:endParaRPr>
          </a:p>
          <a:p>
            <a:pPr marL="0" indent="0">
              <a:spcBef>
                <a:spcPts val="0"/>
              </a:spcBef>
              <a:buNone/>
              <a:defRPr/>
            </a:pPr>
            <a:r>
              <a:rPr lang="en-IE" sz="1800" b="1" dirty="0">
                <a:solidFill>
                  <a:prstClr val="black"/>
                </a:solidFill>
                <a:latin typeface="Arial"/>
                <a:cs typeface="Arial"/>
                <a:hlinkClick r:id="rId4"/>
              </a:rPr>
              <a:t>European Commission – Horizon Europe / Horizon 2020</a:t>
            </a:r>
            <a:endParaRPr lang="en-IE" sz="1800" b="1" dirty="0">
              <a:solidFill>
                <a:prstClr val="black"/>
              </a:solidFill>
              <a:latin typeface="Arial"/>
              <a:cs typeface="Arial"/>
            </a:endParaRPr>
          </a:p>
          <a:p>
            <a:pPr marL="0" indent="0">
              <a:spcBef>
                <a:spcPts val="0"/>
              </a:spcBef>
              <a:buNone/>
              <a:defRPr/>
            </a:pPr>
            <a:r>
              <a:rPr lang="en-IE" sz="1800" dirty="0">
                <a:solidFill>
                  <a:prstClr val="black"/>
                </a:solidFill>
                <a:latin typeface="Arial"/>
                <a:cs typeface="Arial"/>
              </a:rPr>
              <a:t>All peer-reviewed scientific publications arising from Horizon Europe funding must be made available in open access. This implies that publications are to be made freely available online, immediately upon publication and with no restrictions on use, by depositing them on a repository.  </a:t>
            </a:r>
            <a:r>
              <a:rPr lang="en-IE" sz="1800" dirty="0">
                <a:solidFill>
                  <a:prstClr val="black"/>
                </a:solidFill>
                <a:latin typeface="Arial"/>
                <a:cs typeface="Arial"/>
                <a:hlinkClick r:id="rId5"/>
              </a:rPr>
              <a:t>See here for more info.</a:t>
            </a:r>
            <a:endParaRPr lang="en-IE" sz="1800" dirty="0">
              <a:solidFill>
                <a:prstClr val="black"/>
              </a:solidFill>
              <a:latin typeface="Arial"/>
              <a:cs typeface="Arial"/>
            </a:endParaRPr>
          </a:p>
          <a:p>
            <a:pPr marL="0" indent="0">
              <a:spcBef>
                <a:spcPts val="0"/>
              </a:spcBef>
              <a:buNone/>
              <a:defRPr/>
            </a:pPr>
            <a:endParaRPr lang="en-IE" sz="1800" dirty="0">
              <a:solidFill>
                <a:prstClr val="black"/>
              </a:solidFill>
              <a:latin typeface="Arial"/>
              <a:cs typeface="Arial"/>
            </a:endParaRPr>
          </a:p>
          <a:p>
            <a:pPr marL="0" indent="0">
              <a:spcBef>
                <a:spcPts val="0"/>
              </a:spcBef>
              <a:buNone/>
              <a:defRPr/>
            </a:pPr>
            <a:endParaRPr lang="en-US" sz="1800" dirty="0">
              <a:solidFill>
                <a:prstClr val="black"/>
              </a:solidFill>
              <a:latin typeface="Arial"/>
              <a:cs typeface="Arial"/>
            </a:endParaRPr>
          </a:p>
        </p:txBody>
      </p:sp>
    </p:spTree>
    <p:extLst>
      <p:ext uri="{BB962C8B-B14F-4D97-AF65-F5344CB8AC3E}">
        <p14:creationId xmlns:p14="http://schemas.microsoft.com/office/powerpoint/2010/main" val="894092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DB7392-222A-CB77-72DE-504DD0C967F5}"/>
              </a:ext>
            </a:extLst>
          </p:cNvPr>
          <p:cNvSpPr>
            <a:spLocks noGrp="1"/>
          </p:cNvSpPr>
          <p:nvPr>
            <p:ph type="title"/>
          </p:nvPr>
        </p:nvSpPr>
        <p:spPr>
          <a:xfrm>
            <a:off x="686834" y="1153572"/>
            <a:ext cx="3200400" cy="4461163"/>
          </a:xfrm>
        </p:spPr>
        <p:txBody>
          <a:bodyPr>
            <a:normAutofit/>
          </a:bodyPr>
          <a:lstStyle/>
          <a:p>
            <a:r>
              <a:rPr lang="en-IE">
                <a:solidFill>
                  <a:srgbClr val="FFFFFF"/>
                </a:solidFill>
              </a:rPr>
              <a:t>Publish your research </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9219E1-B0B0-52EB-9B4D-4198E76D0A36}"/>
              </a:ext>
            </a:extLst>
          </p:cNvPr>
          <p:cNvSpPr>
            <a:spLocks noGrp="1"/>
          </p:cNvSpPr>
          <p:nvPr>
            <p:ph idx="1"/>
          </p:nvPr>
        </p:nvSpPr>
        <p:spPr>
          <a:xfrm>
            <a:off x="4447308" y="591344"/>
            <a:ext cx="6906491" cy="5585619"/>
          </a:xfrm>
        </p:spPr>
        <p:txBody>
          <a:bodyPr anchor="ctr">
            <a:normAutofit lnSpcReduction="10000"/>
          </a:bodyPr>
          <a:lstStyle/>
          <a:p>
            <a:pPr marL="0" indent="0">
              <a:buNone/>
            </a:pPr>
            <a:r>
              <a:rPr lang="en-IE" b="1" dirty="0"/>
              <a:t>Where to publish? </a:t>
            </a:r>
          </a:p>
          <a:p>
            <a:r>
              <a:rPr lang="en-IE" dirty="0" err="1"/>
              <a:t>IrEL</a:t>
            </a:r>
            <a:r>
              <a:rPr lang="en-IE" dirty="0"/>
              <a:t> list of Journals with APC agreements see:</a:t>
            </a:r>
          </a:p>
          <a:p>
            <a:pPr marL="457200" lvl="1" indent="0">
              <a:buNone/>
            </a:pPr>
            <a:r>
              <a:rPr lang="en-IE" dirty="0">
                <a:hlinkClick r:id="rId2"/>
              </a:rPr>
              <a:t>https://libguides.ucc.ie/OAagreements/home</a:t>
            </a:r>
            <a:r>
              <a:rPr lang="en-IE" dirty="0"/>
              <a:t>  </a:t>
            </a:r>
            <a:endParaRPr lang="en-IE" dirty="0">
              <a:cs typeface="Calibri"/>
            </a:endParaRPr>
          </a:p>
          <a:p>
            <a:r>
              <a:rPr lang="en-IE" dirty="0"/>
              <a:t>Supervisor guidance</a:t>
            </a:r>
          </a:p>
          <a:p>
            <a:r>
              <a:rPr lang="en-IE" dirty="0"/>
              <a:t>Your own familiarity with your field, your own reference list</a:t>
            </a:r>
          </a:p>
          <a:p>
            <a:r>
              <a:rPr lang="en-IE" dirty="0"/>
              <a:t>Use database to search for your topics and review results – </a:t>
            </a:r>
            <a:r>
              <a:rPr lang="en-IE" dirty="0" err="1"/>
              <a:t>eg</a:t>
            </a:r>
            <a:r>
              <a:rPr lang="en-IE" dirty="0"/>
              <a:t> </a:t>
            </a:r>
            <a:r>
              <a:rPr lang="en-IE" dirty="0">
                <a:hlinkClick r:id="rId3"/>
              </a:rPr>
              <a:t>Scopus</a:t>
            </a:r>
            <a:endParaRPr lang="en-IE" dirty="0"/>
          </a:p>
          <a:p>
            <a:r>
              <a:rPr lang="en-IE" dirty="0"/>
              <a:t>Consider preprints archives:  </a:t>
            </a:r>
            <a:r>
              <a:rPr lang="en-IE" dirty="0">
                <a:hlinkClick r:id="rId4"/>
              </a:rPr>
              <a:t>https://www.biorxiv.org/</a:t>
            </a:r>
            <a:endParaRPr lang="en-IE" dirty="0"/>
          </a:p>
          <a:p>
            <a:r>
              <a:rPr lang="en-IE" dirty="0">
                <a:cs typeface="Calibri"/>
                <a:hlinkClick r:id="rId5"/>
              </a:rPr>
              <a:t>Open library of Humanities</a:t>
            </a:r>
            <a:endParaRPr lang="en-IE" dirty="0">
              <a:hlinkClick r:id="rId5"/>
            </a:endParaRPr>
          </a:p>
          <a:p>
            <a:r>
              <a:rPr lang="en-IE" dirty="0"/>
              <a:t>DOAJ </a:t>
            </a:r>
            <a:r>
              <a:rPr lang="en-IE" dirty="0">
                <a:hlinkClick r:id="rId6"/>
              </a:rPr>
              <a:t>http://www.doaj.org</a:t>
            </a:r>
            <a:r>
              <a:rPr lang="en-IE" dirty="0"/>
              <a:t> </a:t>
            </a:r>
          </a:p>
        </p:txBody>
      </p:sp>
    </p:spTree>
    <p:extLst>
      <p:ext uri="{BB962C8B-B14F-4D97-AF65-F5344CB8AC3E}">
        <p14:creationId xmlns:p14="http://schemas.microsoft.com/office/powerpoint/2010/main" val="1554365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41248" y="548640"/>
            <a:ext cx="3600860" cy="5431536"/>
          </a:xfrm>
        </p:spPr>
        <p:txBody>
          <a:bodyPr>
            <a:normAutofit/>
          </a:bodyPr>
          <a:lstStyle/>
          <a:p>
            <a:r>
              <a:rPr lang="en-IE" sz="5400"/>
              <a:t>Selecting a Journal</a:t>
            </a:r>
          </a:p>
        </p:txBody>
      </p:sp>
      <p:sp>
        <p:nvSpPr>
          <p:cNvPr id="19"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5112917" y="548584"/>
            <a:ext cx="6224335" cy="6078517"/>
          </a:xfrm>
        </p:spPr>
        <p:txBody>
          <a:bodyPr vert="horz" lIns="45720" tIns="45720" rIns="45720" bIns="45720" rtlCol="0" anchor="ctr">
            <a:normAutofit fontScale="92500" lnSpcReduction="10000"/>
          </a:bodyPr>
          <a:lstStyle/>
          <a:p>
            <a:pPr marL="0" indent="0">
              <a:buNone/>
            </a:pPr>
            <a:endParaRPr lang="en-IE" sz="2200" dirty="0"/>
          </a:p>
          <a:p>
            <a:pPr marL="0" indent="0">
              <a:buNone/>
            </a:pPr>
            <a:r>
              <a:rPr lang="en-IE" sz="2200" b="1" dirty="0">
                <a:cs typeface="Calibri"/>
              </a:rPr>
              <a:t>Look for OA journals</a:t>
            </a:r>
            <a:endParaRPr lang="en-IE" sz="2200" b="1" dirty="0"/>
          </a:p>
          <a:p>
            <a:pPr marL="342900" indent="-342900"/>
            <a:r>
              <a:rPr lang="en-IE" sz="2200" dirty="0">
                <a:cs typeface="Calibri"/>
                <a:hlinkClick r:id="rId2"/>
              </a:rPr>
              <a:t>http://www.doaj.org</a:t>
            </a:r>
            <a:r>
              <a:rPr lang="en-IE" sz="2200" dirty="0">
                <a:cs typeface="Calibri"/>
              </a:rPr>
              <a:t>  </a:t>
            </a:r>
            <a:endParaRPr lang="en-IE" dirty="0">
              <a:cs typeface="Calibri" panose="020F0502020204030204"/>
            </a:endParaRPr>
          </a:p>
          <a:p>
            <a:pPr marL="514350" lvl="1" indent="-285750"/>
            <a:r>
              <a:rPr lang="en-IE" sz="1800" dirty="0">
                <a:cs typeface="Calibri"/>
                <a:hlinkClick r:id="rId3"/>
              </a:rPr>
              <a:t>What are the requirements for authors?</a:t>
            </a:r>
          </a:p>
          <a:p>
            <a:pPr marL="0" indent="0">
              <a:buNone/>
            </a:pPr>
            <a:endParaRPr lang="en-IE" sz="2200" dirty="0"/>
          </a:p>
          <a:p>
            <a:pPr marL="0" indent="0">
              <a:buNone/>
            </a:pPr>
            <a:r>
              <a:rPr lang="en-IE" sz="2200" b="1" dirty="0"/>
              <a:t>Indexing of the journal</a:t>
            </a:r>
            <a:endParaRPr lang="en-IE" b="1" dirty="0">
              <a:cs typeface="Calibri"/>
            </a:endParaRPr>
          </a:p>
          <a:p>
            <a:pPr marL="264795" lvl="1"/>
            <a:r>
              <a:rPr lang="en-IE" sz="2200" dirty="0">
                <a:hlinkClick r:id="rId4"/>
              </a:rPr>
              <a:t>Web of Science Master List </a:t>
            </a:r>
            <a:endParaRPr lang="en-IE" sz="2200" dirty="0"/>
          </a:p>
          <a:p>
            <a:pPr marL="264795" lvl="1"/>
            <a:r>
              <a:rPr lang="en-IE" sz="2200" dirty="0">
                <a:hlinkClick r:id="rId5"/>
              </a:rPr>
              <a:t>Scopus Sources</a:t>
            </a:r>
            <a:endParaRPr lang="en-IE" sz="2200" dirty="0"/>
          </a:p>
          <a:p>
            <a:pPr marL="264795" lvl="1"/>
            <a:r>
              <a:rPr lang="en-IE" sz="2200" dirty="0">
                <a:hlinkClick r:id="rId6"/>
              </a:rPr>
              <a:t>Medline / PubMed</a:t>
            </a:r>
            <a:r>
              <a:rPr lang="en-IE" sz="2200" dirty="0"/>
              <a:t> </a:t>
            </a:r>
            <a:endParaRPr lang="en-IE" sz="2200" dirty="0">
              <a:cs typeface="Calibri"/>
            </a:endParaRPr>
          </a:p>
          <a:p>
            <a:pPr marL="36195" lvl="1" indent="0">
              <a:buNone/>
            </a:pPr>
            <a:endParaRPr lang="en-IE" sz="2200"/>
          </a:p>
          <a:p>
            <a:pPr marL="0" indent="0">
              <a:buNone/>
            </a:pPr>
            <a:r>
              <a:rPr lang="en-IE" sz="2200" b="1" dirty="0">
                <a:solidFill>
                  <a:srgbClr val="000000"/>
                </a:solidFill>
                <a:highlight>
                  <a:srgbClr val="C0C0C0"/>
                </a:highlight>
              </a:rPr>
              <a:t>Journal Citation Performance</a:t>
            </a:r>
            <a:endParaRPr lang="en-IE" sz="2200" b="1">
              <a:solidFill>
                <a:srgbClr val="000000"/>
              </a:solidFill>
              <a:highlight>
                <a:srgbClr val="C0C0C0"/>
              </a:highlight>
              <a:cs typeface="Calibri"/>
            </a:endParaRPr>
          </a:p>
          <a:p>
            <a:pPr marL="264795" lvl="1"/>
            <a:r>
              <a:rPr lang="en-IE" sz="2200" dirty="0">
                <a:solidFill>
                  <a:srgbClr val="000000"/>
                </a:solidFill>
                <a:highlight>
                  <a:srgbClr val="C0C0C0"/>
                </a:highlight>
                <a:hlinkClick r:id="rId7"/>
              </a:rPr>
              <a:t>Journal Citation Reports</a:t>
            </a:r>
            <a:endParaRPr lang="en-IE" sz="2200">
              <a:solidFill>
                <a:srgbClr val="000000"/>
              </a:solidFill>
              <a:highlight>
                <a:srgbClr val="C0C0C0"/>
              </a:highlight>
              <a:cs typeface="Calibri"/>
              <a:hlinkClick r:id="" action="ppaction://noaction"/>
            </a:endParaRPr>
          </a:p>
          <a:p>
            <a:pPr marL="264795" lvl="1"/>
            <a:r>
              <a:rPr lang="en-IE" sz="2200" dirty="0">
                <a:solidFill>
                  <a:srgbClr val="000000"/>
                </a:solidFill>
                <a:highlight>
                  <a:srgbClr val="C0C0C0"/>
                </a:highlight>
                <a:hlinkClick r:id="rId5"/>
              </a:rPr>
              <a:t>Scopus Sources</a:t>
            </a:r>
            <a:endParaRPr lang="en-IE" sz="2200">
              <a:solidFill>
                <a:srgbClr val="000000"/>
              </a:solidFill>
              <a:highlight>
                <a:srgbClr val="C0C0C0"/>
              </a:highlight>
              <a:cs typeface="Calibri"/>
              <a:hlinkClick r:id="" action="ppaction://noaction"/>
            </a:endParaRPr>
          </a:p>
          <a:p>
            <a:pPr marL="264795" lvl="1"/>
            <a:r>
              <a:rPr lang="en-IE" sz="2200" dirty="0">
                <a:solidFill>
                  <a:srgbClr val="000000"/>
                </a:solidFill>
                <a:highlight>
                  <a:srgbClr val="C0C0C0"/>
                </a:highlight>
                <a:hlinkClick r:id="rId8"/>
              </a:rPr>
              <a:t>Scimago</a:t>
            </a:r>
            <a:endParaRPr lang="en-IE" sz="2200">
              <a:solidFill>
                <a:srgbClr val="000000"/>
              </a:solidFill>
              <a:highlight>
                <a:srgbClr val="C0C0C0"/>
              </a:highlight>
              <a:cs typeface="Calibri"/>
              <a:hlinkClick r:id="rId8"/>
            </a:endParaRPr>
          </a:p>
          <a:p>
            <a:pPr marL="36195" lvl="1" indent="0">
              <a:buNone/>
            </a:pPr>
            <a:endParaRPr lang="en-IE" sz="2200"/>
          </a:p>
          <a:p>
            <a:pPr marL="0" indent="0">
              <a:buNone/>
            </a:pPr>
            <a:r>
              <a:rPr lang="en-GB" sz="2200" b="1" dirty="0"/>
              <a:t>Analyse Search Results from databases</a:t>
            </a:r>
            <a:endParaRPr lang="en-GB" sz="2200" b="1" dirty="0">
              <a:cs typeface="Calibri"/>
            </a:endParaRPr>
          </a:p>
          <a:p>
            <a:pPr marL="264795" lvl="1"/>
            <a:r>
              <a:rPr lang="en-GB" sz="2200" dirty="0">
                <a:hlinkClick r:id="rId5"/>
              </a:rPr>
              <a:t>Web of Science</a:t>
            </a:r>
            <a:r>
              <a:rPr lang="en-GB" sz="2200" dirty="0"/>
              <a:t> </a:t>
            </a:r>
            <a:endParaRPr lang="en-GB" sz="2200" dirty="0">
              <a:cs typeface="Calibri"/>
            </a:endParaRPr>
          </a:p>
          <a:p>
            <a:pPr marL="264795" lvl="1"/>
            <a:r>
              <a:rPr lang="en-GB" sz="2200" dirty="0">
                <a:hlinkClick r:id="rId5"/>
              </a:rPr>
              <a:t>Scopus</a:t>
            </a:r>
            <a:r>
              <a:rPr lang="en-GB" sz="2200" dirty="0"/>
              <a:t> (See the example in the next few slides)</a:t>
            </a:r>
            <a:endParaRPr lang="en-GB" sz="2200" dirty="0">
              <a:cs typeface="Calibri"/>
            </a:endParaRPr>
          </a:p>
          <a:p>
            <a:pPr marL="264795" lvl="1"/>
            <a:endParaRPr lang="en-IE" sz="2200"/>
          </a:p>
          <a:p>
            <a:pPr marL="264795" lvl="1"/>
            <a:endParaRPr lang="en-IE" sz="2200"/>
          </a:p>
        </p:txBody>
      </p:sp>
    </p:spTree>
    <p:extLst>
      <p:ext uri="{BB962C8B-B14F-4D97-AF65-F5344CB8AC3E}">
        <p14:creationId xmlns:p14="http://schemas.microsoft.com/office/powerpoint/2010/main" val="6919875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D0EE06-1ABE-D7D4-8B10-DBD8AA46642B}"/>
              </a:ext>
            </a:extLst>
          </p:cNvPr>
          <p:cNvSpPr>
            <a:spLocks noGrp="1"/>
          </p:cNvSpPr>
          <p:nvPr>
            <p:ph type="title"/>
          </p:nvPr>
        </p:nvSpPr>
        <p:spPr>
          <a:xfrm>
            <a:off x="638882" y="639193"/>
            <a:ext cx="3571810" cy="3573516"/>
          </a:xfrm>
        </p:spPr>
        <p:txBody>
          <a:bodyPr vert="horz" lIns="91440" tIns="45720" rIns="91440" bIns="45720" rtlCol="0" anchor="b">
            <a:normAutofit/>
          </a:bodyPr>
          <a:lstStyle/>
          <a:p>
            <a:r>
              <a:rPr lang="en-US" sz="4100" kern="1200" dirty="0">
                <a:latin typeface="+mj-lt"/>
                <a:ea typeface="+mj-ea"/>
                <a:cs typeface="+mj-cs"/>
              </a:rPr>
              <a:t>Analyse search results for your topic in the databases</a:t>
            </a:r>
            <a:br>
              <a:rPr lang="en-US" sz="4100" kern="1200" dirty="0">
                <a:cs typeface="Calibri Light"/>
              </a:rPr>
            </a:br>
            <a:br>
              <a:rPr lang="en-US" sz="4100" dirty="0"/>
            </a:br>
            <a:r>
              <a:rPr lang="en-US" sz="2000" b="1" dirty="0" err="1">
                <a:latin typeface="Calibri"/>
                <a:cs typeface="Calibri Light"/>
              </a:rPr>
              <a:t>Eg.</a:t>
            </a:r>
            <a:r>
              <a:rPr lang="en-US" sz="2000" b="1" dirty="0">
                <a:latin typeface="Calibri"/>
                <a:cs typeface="Calibri Light"/>
              </a:rPr>
              <a:t>  </a:t>
            </a:r>
            <a:r>
              <a:rPr lang="en-US" sz="2000" b="1" dirty="0">
                <a:latin typeface="Calibri"/>
                <a:cs typeface="Calibri Light"/>
                <a:hlinkClick r:id="rId2"/>
              </a:rPr>
              <a:t>Scopus</a:t>
            </a:r>
            <a:endParaRPr lang="en-US" sz="2000" b="1" kern="1200" dirty="0">
              <a:solidFill>
                <a:schemeClr val="tx1"/>
              </a:solidFill>
              <a:latin typeface="Calibri"/>
              <a:cs typeface="+mj-cs"/>
            </a:endParaRPr>
          </a:p>
        </p:txBody>
      </p:sp>
      <p:sp>
        <p:nvSpPr>
          <p:cNvPr id="25"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a:extLst>
              <a:ext uri="{FF2B5EF4-FFF2-40B4-BE49-F238E27FC236}">
                <a16:creationId xmlns:a16="http://schemas.microsoft.com/office/drawing/2014/main" id="{46E56E8C-AE2A-68CA-54A1-22597F1C9F64}"/>
              </a:ext>
            </a:extLst>
          </p:cNvPr>
          <p:cNvPicPr>
            <a:picLocks noGrp="1" noChangeAspect="1"/>
          </p:cNvPicPr>
          <p:nvPr>
            <p:ph idx="1"/>
          </p:nvPr>
        </p:nvPicPr>
        <p:blipFill>
          <a:blip r:embed="rId3"/>
          <a:stretch>
            <a:fillRect/>
          </a:stretch>
        </p:blipFill>
        <p:spPr>
          <a:xfrm>
            <a:off x="4654296" y="1223845"/>
            <a:ext cx="7214616" cy="4382878"/>
          </a:xfrm>
          <a:prstGeom prst="rect">
            <a:avLst/>
          </a:prstGeom>
        </p:spPr>
      </p:pic>
    </p:spTree>
    <p:extLst>
      <p:ext uri="{BB962C8B-B14F-4D97-AF65-F5344CB8AC3E}">
        <p14:creationId xmlns:p14="http://schemas.microsoft.com/office/powerpoint/2010/main" val="3480884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8" name="Content Placeholder 7">
            <a:extLst>
              <a:ext uri="{FF2B5EF4-FFF2-40B4-BE49-F238E27FC236}">
                <a16:creationId xmlns:a16="http://schemas.microsoft.com/office/drawing/2014/main" id="{4323FB1C-C5D2-B37C-09DD-AAC6BDF03728}"/>
              </a:ext>
            </a:extLst>
          </p:cNvPr>
          <p:cNvPicPr>
            <a:picLocks noGrp="1" noChangeAspect="1"/>
          </p:cNvPicPr>
          <p:nvPr>
            <p:ph idx="1"/>
          </p:nvPr>
        </p:nvPicPr>
        <p:blipFill rotWithShape="1">
          <a:blip r:embed="rId3"/>
          <a:srcRect l="18762" t="22163" r="19413" b="6306"/>
          <a:stretch/>
        </p:blipFill>
        <p:spPr>
          <a:xfrm>
            <a:off x="4188940" y="162182"/>
            <a:ext cx="7216347" cy="4696542"/>
          </a:xfrm>
          <a:prstGeom prst="rect">
            <a:avLst/>
          </a:prstGeom>
          <a:ln w="88900" cap="sq" cmpd="thickThin">
            <a:solidFill>
              <a:srgbClr val="000000"/>
            </a:solidFill>
            <a:prstDash val="solid"/>
            <a:miter lim="800000"/>
          </a:ln>
          <a:effectLst>
            <a:innerShdw blurRad="76200">
              <a:srgbClr val="000000"/>
            </a:innerShdw>
          </a:effectLst>
        </p:spPr>
      </p:pic>
      <p:pic>
        <p:nvPicPr>
          <p:cNvPr id="10" name="Picture 9">
            <a:extLst>
              <a:ext uri="{FF2B5EF4-FFF2-40B4-BE49-F238E27FC236}">
                <a16:creationId xmlns:a16="http://schemas.microsoft.com/office/drawing/2014/main" id="{283178AF-3B0F-FDCE-18D6-60C3D4AF780C}"/>
              </a:ext>
            </a:extLst>
          </p:cNvPr>
          <p:cNvPicPr>
            <a:picLocks noChangeAspect="1"/>
          </p:cNvPicPr>
          <p:nvPr/>
        </p:nvPicPr>
        <p:blipFill>
          <a:blip r:embed="rId4"/>
          <a:stretch>
            <a:fillRect/>
          </a:stretch>
        </p:blipFill>
        <p:spPr>
          <a:xfrm>
            <a:off x="268245" y="162182"/>
            <a:ext cx="2697377" cy="755266"/>
          </a:xfrm>
          <a:prstGeom prst="rect">
            <a:avLst/>
          </a:prstGeom>
        </p:spPr>
      </p:pic>
      <p:sp>
        <p:nvSpPr>
          <p:cNvPr id="11" name="TextBox 10">
            <a:extLst>
              <a:ext uri="{FF2B5EF4-FFF2-40B4-BE49-F238E27FC236}">
                <a16:creationId xmlns:a16="http://schemas.microsoft.com/office/drawing/2014/main" id="{D25B8F56-B98B-D740-56C4-21DB34ABAA8E}"/>
              </a:ext>
            </a:extLst>
          </p:cNvPr>
          <p:cNvSpPr txBox="1"/>
          <p:nvPr/>
        </p:nvSpPr>
        <p:spPr>
          <a:xfrm>
            <a:off x="313037" y="5218490"/>
            <a:ext cx="11685373" cy="1477328"/>
          </a:xfrm>
          <a:prstGeom prst="rect">
            <a:avLst/>
          </a:prstGeom>
          <a:noFill/>
        </p:spPr>
        <p:txBody>
          <a:bodyPr wrap="square" rtlCol="0">
            <a:spAutoFit/>
          </a:bodyPr>
          <a:lstStyle/>
          <a:p>
            <a:r>
              <a:rPr lang="en-IE" b="1" dirty="0"/>
              <a:t>Coalition for Advancing Research Assessment</a:t>
            </a:r>
          </a:p>
          <a:p>
            <a:r>
              <a:rPr lang="en-IE" dirty="0"/>
              <a:t>- Our vision is that the assessment of research, researchers and research organisations recognises the diverse outputs, practices and activities that maximise the quality and impact of research. This requires basing assessment primarily on qualitative judgement, for which peer review is central, supported by responsible use of quantitative indicators.</a:t>
            </a:r>
          </a:p>
          <a:p>
            <a:endParaRPr lang="en-IE" dirty="0"/>
          </a:p>
        </p:txBody>
      </p:sp>
      <p:sp>
        <p:nvSpPr>
          <p:cNvPr id="14" name="TextBox 13">
            <a:extLst>
              <a:ext uri="{FF2B5EF4-FFF2-40B4-BE49-F238E27FC236}">
                <a16:creationId xmlns:a16="http://schemas.microsoft.com/office/drawing/2014/main" id="{D161A183-96AB-5A74-FA1F-387600802449}"/>
              </a:ext>
            </a:extLst>
          </p:cNvPr>
          <p:cNvSpPr txBox="1"/>
          <p:nvPr/>
        </p:nvSpPr>
        <p:spPr>
          <a:xfrm>
            <a:off x="313037" y="1277214"/>
            <a:ext cx="3018137" cy="400110"/>
          </a:xfrm>
          <a:prstGeom prst="rect">
            <a:avLst/>
          </a:prstGeom>
          <a:noFill/>
        </p:spPr>
        <p:txBody>
          <a:bodyPr wrap="square">
            <a:spAutoFit/>
          </a:bodyPr>
          <a:lstStyle/>
          <a:p>
            <a:r>
              <a:rPr lang="en-IE" sz="2000" b="1" dirty="0"/>
              <a:t>https://coara.eu/</a:t>
            </a:r>
          </a:p>
        </p:txBody>
      </p:sp>
      <p:sp>
        <p:nvSpPr>
          <p:cNvPr id="2" name="Speech Bubble: Oval 1">
            <a:extLst>
              <a:ext uri="{FF2B5EF4-FFF2-40B4-BE49-F238E27FC236}">
                <a16:creationId xmlns:a16="http://schemas.microsoft.com/office/drawing/2014/main" id="{08FE32A2-72BE-2B40-5A02-9935AF77257A}"/>
              </a:ext>
            </a:extLst>
          </p:cNvPr>
          <p:cNvSpPr/>
          <p:nvPr/>
        </p:nvSpPr>
        <p:spPr>
          <a:xfrm>
            <a:off x="103752" y="2032761"/>
            <a:ext cx="3926541" cy="2237590"/>
          </a:xfrm>
          <a:prstGeom prst="wedgeEllipseCallout">
            <a:avLst>
              <a:gd name="adj1" fmla="val -4166"/>
              <a:gd name="adj2" fmla="val 619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a:t>‘Publish or perish’ and metrics have led us into a blind alley. Let’s start recognizing the full breadth of value created by researchers. </a:t>
            </a:r>
          </a:p>
        </p:txBody>
      </p:sp>
      <p:sp>
        <p:nvSpPr>
          <p:cNvPr id="3" name="TextBox 2">
            <a:extLst>
              <a:ext uri="{FF2B5EF4-FFF2-40B4-BE49-F238E27FC236}">
                <a16:creationId xmlns:a16="http://schemas.microsoft.com/office/drawing/2014/main" id="{42C0F137-CEEB-4207-02DB-B362342D0806}"/>
              </a:ext>
            </a:extLst>
          </p:cNvPr>
          <p:cNvSpPr txBox="1"/>
          <p:nvPr/>
        </p:nvSpPr>
        <p:spPr>
          <a:xfrm>
            <a:off x="313037" y="4625788"/>
            <a:ext cx="3344563" cy="276999"/>
          </a:xfrm>
          <a:prstGeom prst="rect">
            <a:avLst/>
          </a:prstGeom>
          <a:noFill/>
        </p:spPr>
        <p:txBody>
          <a:bodyPr wrap="square" rtlCol="0">
            <a:spAutoFit/>
          </a:bodyPr>
          <a:lstStyle/>
          <a:p>
            <a:r>
              <a:rPr lang="en-IE" sz="1200" dirty="0"/>
              <a:t>Marc </a:t>
            </a:r>
            <a:r>
              <a:rPr lang="en-IE" sz="1200" dirty="0" err="1"/>
              <a:t>Schiltz</a:t>
            </a:r>
            <a:r>
              <a:rPr lang="en-IE" sz="1200" dirty="0"/>
              <a:t>, President of Science Europe</a:t>
            </a:r>
          </a:p>
        </p:txBody>
      </p:sp>
    </p:spTree>
    <p:extLst>
      <p:ext uri="{BB962C8B-B14F-4D97-AF65-F5344CB8AC3E}">
        <p14:creationId xmlns:p14="http://schemas.microsoft.com/office/powerpoint/2010/main" val="3312460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4F903D8-27DB-EB6C-30E0-E9EB96947A2F}"/>
              </a:ext>
            </a:extLst>
          </p:cNvPr>
          <p:cNvSpPr>
            <a:spLocks noGrp="1"/>
          </p:cNvSpPr>
          <p:nvPr>
            <p:ph type="title"/>
          </p:nvPr>
        </p:nvSpPr>
        <p:spPr>
          <a:xfrm>
            <a:off x="404612" y="1294683"/>
            <a:ext cx="3200400" cy="4461163"/>
          </a:xfrm>
        </p:spPr>
        <p:txBody>
          <a:bodyPr>
            <a:normAutofit/>
          </a:bodyPr>
          <a:lstStyle/>
          <a:p>
            <a:r>
              <a:rPr lang="en-GB" dirty="0">
                <a:solidFill>
                  <a:srgbClr val="FFFFFF"/>
                </a:solidFill>
                <a:cs typeface="Calibri Light"/>
              </a:rPr>
              <a:t>Preparing your article. . things to consider:</a:t>
            </a:r>
            <a:endParaRPr lang="en-GB" dirty="0">
              <a:solidFill>
                <a:srgbClr val="FFFFFF"/>
              </a:solidFill>
            </a:endParaRP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8A2C25B0-E7DB-DC8F-CBCE-7C70F70323C6}"/>
              </a:ext>
            </a:extLst>
          </p:cNvPr>
          <p:cNvSpPr>
            <a:spLocks noGrp="1"/>
          </p:cNvSpPr>
          <p:nvPr>
            <p:ph idx="1"/>
          </p:nvPr>
        </p:nvSpPr>
        <p:spPr>
          <a:xfrm>
            <a:off x="4447308" y="591344"/>
            <a:ext cx="6906491" cy="5585619"/>
          </a:xfrm>
        </p:spPr>
        <p:txBody>
          <a:bodyPr vert="horz" lIns="91440" tIns="45720" rIns="91440" bIns="45720" rtlCol="0" anchor="ctr">
            <a:normAutofit/>
          </a:bodyPr>
          <a:lstStyle/>
          <a:p>
            <a:r>
              <a:rPr lang="en-GB" dirty="0">
                <a:cs typeface="Calibri"/>
              </a:rPr>
              <a:t>Journal publishing guidelines – </a:t>
            </a:r>
            <a:r>
              <a:rPr lang="en-GB" dirty="0" err="1">
                <a:cs typeface="Calibri"/>
              </a:rPr>
              <a:t>eg.</a:t>
            </a:r>
            <a:r>
              <a:rPr lang="en-GB" dirty="0">
                <a:cs typeface="Calibri"/>
              </a:rPr>
              <a:t> </a:t>
            </a:r>
            <a:r>
              <a:rPr lang="en-GB" dirty="0">
                <a:cs typeface="Calibri"/>
                <a:hlinkClick r:id="rId2"/>
              </a:rPr>
              <a:t>BMC</a:t>
            </a:r>
            <a:r>
              <a:rPr lang="en-GB" dirty="0">
                <a:cs typeface="Calibri"/>
              </a:rPr>
              <a:t>, </a:t>
            </a:r>
            <a:r>
              <a:rPr lang="en-GB" dirty="0">
                <a:cs typeface="Calibri"/>
                <a:hlinkClick r:id="rId3"/>
              </a:rPr>
              <a:t>Journal of Genetic Resources</a:t>
            </a:r>
            <a:endParaRPr lang="en-GB">
              <a:cs typeface="Calibri"/>
            </a:endParaRPr>
          </a:p>
          <a:p>
            <a:r>
              <a:rPr lang="en-GB" dirty="0">
                <a:cs typeface="Calibri"/>
              </a:rPr>
              <a:t>Special issues of journals</a:t>
            </a:r>
          </a:p>
          <a:p>
            <a:r>
              <a:rPr lang="en-GB" dirty="0">
                <a:cs typeface="Calibri"/>
              </a:rPr>
              <a:t>The audience you want to reach</a:t>
            </a:r>
          </a:p>
          <a:p>
            <a:r>
              <a:rPr lang="en-GB" dirty="0">
                <a:cs typeface="Calibri"/>
              </a:rPr>
              <a:t>Peer review</a:t>
            </a:r>
          </a:p>
          <a:p>
            <a:r>
              <a:rPr lang="en-GB" dirty="0">
                <a:cs typeface="Calibri"/>
              </a:rPr>
              <a:t>Check journal websites for author guidelines</a:t>
            </a:r>
          </a:p>
          <a:p>
            <a:r>
              <a:rPr lang="en-GB" dirty="0">
                <a:cs typeface="Calibri"/>
              </a:rPr>
              <a:t>Apply . . edit . . resubmit . . .</a:t>
            </a:r>
          </a:p>
        </p:txBody>
      </p:sp>
    </p:spTree>
    <p:extLst>
      <p:ext uri="{BB962C8B-B14F-4D97-AF65-F5344CB8AC3E}">
        <p14:creationId xmlns:p14="http://schemas.microsoft.com/office/powerpoint/2010/main" val="3555991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172" name="Google Shape;172;p2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3" name="Google Shape;173;p21"/>
          <p:cNvSpPr txBox="1">
            <a:spLocks noGrp="1"/>
          </p:cNvSpPr>
          <p:nvPr>
            <p:ph type="title"/>
          </p:nvPr>
        </p:nvSpPr>
        <p:spPr>
          <a:xfrm>
            <a:off x="638882" y="639193"/>
            <a:ext cx="3571810" cy="3573516"/>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dk1"/>
              </a:buClr>
              <a:buSzPts val="4600"/>
              <a:buFont typeface="Calibri"/>
              <a:buNone/>
            </a:pPr>
            <a:r>
              <a:rPr lang="en-US" sz="4600" b="1">
                <a:solidFill>
                  <a:schemeClr val="dk1"/>
                </a:solidFill>
                <a:latin typeface="Calibri"/>
                <a:ea typeface="Calibri"/>
                <a:cs typeface="Calibri"/>
                <a:sym typeface="Calibri"/>
              </a:rPr>
              <a:t>Questionable Publishers &amp; Journals</a:t>
            </a:r>
            <a:endParaRPr sz="4600">
              <a:solidFill>
                <a:schemeClr val="dk1"/>
              </a:solidFill>
              <a:latin typeface="Calibri"/>
              <a:ea typeface="Calibri"/>
              <a:cs typeface="Calibri"/>
              <a:sym typeface="Calibri"/>
            </a:endParaRPr>
          </a:p>
        </p:txBody>
      </p:sp>
      <p:sp>
        <p:nvSpPr>
          <p:cNvPr id="174" name="Google Shape;174;p21"/>
          <p:cNvSpPr/>
          <p:nvPr/>
        </p:nvSpPr>
        <p:spPr>
          <a:xfrm>
            <a:off x="643278" y="4409267"/>
            <a:ext cx="3255095" cy="18288"/>
          </a:xfrm>
          <a:custGeom>
            <a:avLst/>
            <a:gdLst/>
            <a:ahLst/>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5" name="Google Shape;175;p21" descr="Text&#10;&#10;Description automatically generated"/>
          <p:cNvPicPr preferRelativeResize="0">
            <a:picLocks noGrp="1"/>
          </p:cNvPicPr>
          <p:nvPr>
            <p:ph type="body" idx="1"/>
          </p:nvPr>
        </p:nvPicPr>
        <p:blipFill rotWithShape="1">
          <a:blip r:embed="rId3">
            <a:alphaModFix/>
          </a:blip>
          <a:srcRect/>
          <a:stretch/>
        </p:blipFill>
        <p:spPr>
          <a:xfrm>
            <a:off x="5590470" y="640080"/>
            <a:ext cx="5342267" cy="5550408"/>
          </a:xfrm>
          <a:prstGeom prst="rect">
            <a:avLst/>
          </a:prstGeom>
          <a:noFill/>
          <a:ln>
            <a:noFill/>
          </a:ln>
        </p:spPr>
      </p:pic>
      <p:sp>
        <p:nvSpPr>
          <p:cNvPr id="176" name="Google Shape;176;p21"/>
          <p:cNvSpPr/>
          <p:nvPr/>
        </p:nvSpPr>
        <p:spPr>
          <a:xfrm>
            <a:off x="345020" y="5245009"/>
            <a:ext cx="4856485" cy="936185"/>
          </a:xfrm>
          <a:prstGeom prst="rect">
            <a:avLst/>
          </a:prstGeom>
          <a:noFill/>
          <a:ln>
            <a:noFill/>
          </a:ln>
        </p:spPr>
        <p:txBody>
          <a:bodyPr spcFirstLastPara="1" wrap="square" lIns="91425" tIns="45700" rIns="91425" bIns="45700" anchor="t" anchorCtr="0">
            <a:noAutofit/>
          </a:bodyPr>
          <a:lstStyle/>
          <a:p>
            <a:r>
              <a:rPr lang="en-US" sz="2800" dirty="0">
                <a:solidFill>
                  <a:schemeClr val="dk1"/>
                </a:solidFill>
                <a:latin typeface="Calibri"/>
                <a:cs typeface="Calibri"/>
                <a:sym typeface="Calibri"/>
                <a:hlinkClick r:id="rId4">
                  <a:extLst>
                    <a:ext uri="{A12FA001-AC4F-418D-AE19-62706E023703}">
                      <ahyp:hlinkClr xmlns:ahyp="http://schemas.microsoft.com/office/drawing/2018/hyperlinkcolor" val="tx"/>
                    </a:ext>
                  </a:extLst>
                </a:hlinkClick>
              </a:rPr>
              <a:t>Think - Check - Submit Website</a:t>
            </a:r>
          </a:p>
          <a:p>
            <a:endParaRPr lang="en-US" sz="2800" dirty="0">
              <a:solidFill>
                <a:schemeClr val="dk1"/>
              </a:solidFill>
              <a:cs typeface="Calibri"/>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sp>
        <p:nvSpPr>
          <p:cNvPr id="93" name="Google Shape;93;p14"/>
          <p:cNvSpPr txBox="1">
            <a:spLocks noGrp="1"/>
          </p:cNvSpPr>
          <p:nvPr>
            <p:ph type="title"/>
          </p:nvPr>
        </p:nvSpPr>
        <p:spPr>
          <a:xfrm>
            <a:off x="290137" y="624114"/>
            <a:ext cx="4005749" cy="5268686"/>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dk1"/>
              </a:buClr>
              <a:buSzPts val="5400"/>
              <a:buFont typeface="Calibri"/>
              <a:buNone/>
            </a:pPr>
            <a:r>
              <a:rPr lang="en-US" sz="5400" b="1" dirty="0"/>
              <a:t>So, when you have your paper ready to publish – you have choices . . and obligations</a:t>
            </a:r>
            <a:endParaRPr dirty="0"/>
          </a:p>
        </p:txBody>
      </p:sp>
      <p:sp>
        <p:nvSpPr>
          <p:cNvPr id="94" name="Google Shape;94;p14"/>
          <p:cNvSpPr/>
          <p:nvPr/>
        </p:nvSpPr>
        <p:spPr>
          <a:xfrm rot="5400000">
            <a:off x="2543983" y="3258715"/>
            <a:ext cx="4480560" cy="18288"/>
          </a:xfrm>
          <a:custGeom>
            <a:avLst/>
            <a:gdLst/>
            <a:ahLst/>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 name="Picture 1">
            <a:extLst>
              <a:ext uri="{FF2B5EF4-FFF2-40B4-BE49-F238E27FC236}">
                <a16:creationId xmlns:a16="http://schemas.microsoft.com/office/drawing/2014/main" id="{A25926A8-0A05-5B19-0027-518F05E973E6}"/>
              </a:ext>
            </a:extLst>
          </p:cNvPr>
          <p:cNvPicPr>
            <a:picLocks noChangeAspect="1"/>
          </p:cNvPicPr>
          <p:nvPr/>
        </p:nvPicPr>
        <p:blipFill>
          <a:blip r:embed="rId3"/>
          <a:stretch>
            <a:fillRect/>
          </a:stretch>
        </p:blipFill>
        <p:spPr>
          <a:xfrm>
            <a:off x="9004956" y="810804"/>
            <a:ext cx="2829098" cy="4952186"/>
          </a:xfrm>
          <a:prstGeom prst="rect">
            <a:avLst/>
          </a:prstGeom>
        </p:spPr>
      </p:pic>
      <p:sp>
        <p:nvSpPr>
          <p:cNvPr id="3" name="TextBox 2">
            <a:extLst>
              <a:ext uri="{FF2B5EF4-FFF2-40B4-BE49-F238E27FC236}">
                <a16:creationId xmlns:a16="http://schemas.microsoft.com/office/drawing/2014/main" id="{FB8DB40F-0778-7995-A426-37EF39A7981F}"/>
              </a:ext>
            </a:extLst>
          </p:cNvPr>
          <p:cNvSpPr txBox="1"/>
          <p:nvPr/>
        </p:nvSpPr>
        <p:spPr>
          <a:xfrm>
            <a:off x="5781436" y="984347"/>
            <a:ext cx="2370061" cy="646331"/>
          </a:xfrm>
          <a:prstGeom prst="rect">
            <a:avLst/>
          </a:prstGeom>
          <a:noFill/>
        </p:spPr>
        <p:txBody>
          <a:bodyPr wrap="square" rtlCol="0">
            <a:spAutoFit/>
          </a:bodyPr>
          <a:lstStyle/>
          <a:p>
            <a:r>
              <a:rPr lang="en-IE" sz="3600"/>
              <a:t>Where?</a:t>
            </a:r>
          </a:p>
        </p:txBody>
      </p:sp>
      <p:sp>
        <p:nvSpPr>
          <p:cNvPr id="4" name="TextBox 3">
            <a:extLst>
              <a:ext uri="{FF2B5EF4-FFF2-40B4-BE49-F238E27FC236}">
                <a16:creationId xmlns:a16="http://schemas.microsoft.com/office/drawing/2014/main" id="{5D4FD10A-4F63-F8BF-DBAA-93BD7F1B1F63}"/>
              </a:ext>
            </a:extLst>
          </p:cNvPr>
          <p:cNvSpPr txBox="1"/>
          <p:nvPr/>
        </p:nvSpPr>
        <p:spPr>
          <a:xfrm>
            <a:off x="4872165" y="2288523"/>
            <a:ext cx="4817216" cy="1200329"/>
          </a:xfrm>
          <a:prstGeom prst="rect">
            <a:avLst/>
          </a:prstGeom>
          <a:noFill/>
        </p:spPr>
        <p:txBody>
          <a:bodyPr wrap="square" rtlCol="0">
            <a:spAutoFit/>
          </a:bodyPr>
          <a:lstStyle/>
          <a:p>
            <a:r>
              <a:rPr lang="en-IE" sz="3600"/>
              <a:t>Will it meet my funder requirements? </a:t>
            </a:r>
          </a:p>
        </p:txBody>
      </p:sp>
      <p:sp>
        <p:nvSpPr>
          <p:cNvPr id="5" name="TextBox 4">
            <a:extLst>
              <a:ext uri="{FF2B5EF4-FFF2-40B4-BE49-F238E27FC236}">
                <a16:creationId xmlns:a16="http://schemas.microsoft.com/office/drawing/2014/main" id="{AF1F6494-6DFC-ABC9-F2AD-212ADAC3DEC5}"/>
              </a:ext>
            </a:extLst>
          </p:cNvPr>
          <p:cNvSpPr txBox="1"/>
          <p:nvPr/>
        </p:nvSpPr>
        <p:spPr>
          <a:xfrm>
            <a:off x="4929488" y="4206757"/>
            <a:ext cx="4702569" cy="1200329"/>
          </a:xfrm>
          <a:prstGeom prst="rect">
            <a:avLst/>
          </a:prstGeom>
          <a:noFill/>
        </p:spPr>
        <p:txBody>
          <a:bodyPr wrap="square" rtlCol="0">
            <a:spAutoFit/>
          </a:bodyPr>
          <a:lstStyle/>
          <a:p>
            <a:r>
              <a:rPr lang="en-IE" sz="3600"/>
              <a:t>What type of CC licence should I apply?</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8A1D3-2D12-91CE-5F25-92C4BC5FCC41}"/>
              </a:ext>
            </a:extLst>
          </p:cNvPr>
          <p:cNvSpPr>
            <a:spLocks noGrp="1"/>
          </p:cNvSpPr>
          <p:nvPr>
            <p:ph type="title"/>
          </p:nvPr>
        </p:nvSpPr>
        <p:spPr>
          <a:xfrm>
            <a:off x="838200" y="258328"/>
            <a:ext cx="10515600" cy="774263"/>
          </a:xfrm>
          <a:solidFill>
            <a:srgbClr val="F59905"/>
          </a:solidFill>
        </p:spPr>
        <p:txBody>
          <a:bodyPr>
            <a:noAutofit/>
          </a:bodyPr>
          <a:lstStyle/>
          <a:p>
            <a:r>
              <a:rPr lang="en-IE" b="1" dirty="0"/>
              <a:t>Research lifecycle – What’s in a name?</a:t>
            </a:r>
          </a:p>
        </p:txBody>
      </p:sp>
      <p:sp>
        <p:nvSpPr>
          <p:cNvPr id="4" name="Content Placeholder 2">
            <a:extLst>
              <a:ext uri="{FF2B5EF4-FFF2-40B4-BE49-F238E27FC236}">
                <a16:creationId xmlns:a16="http://schemas.microsoft.com/office/drawing/2014/main" id="{2A1EF60A-689D-CF50-3F77-0134DE22D283}"/>
              </a:ext>
            </a:extLst>
          </p:cNvPr>
          <p:cNvSpPr txBox="1">
            <a:spLocks noGrp="1"/>
          </p:cNvSpPr>
          <p:nvPr>
            <p:ph idx="1"/>
          </p:nvPr>
        </p:nvSpPr>
        <p:spPr>
          <a:xfrm>
            <a:off x="838200" y="1604947"/>
            <a:ext cx="10515600" cy="3639754"/>
          </a:xfrm>
          <a:prstGeom prst="rect">
            <a:avLst/>
          </a:prstGeom>
        </p:spPr>
        <p:txBody>
          <a:bodyPr lIns="91440" tIns="45720" rIns="91440" bIns="45720" anchor="t">
            <a:norm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a:defRPr/>
            </a:pPr>
            <a:r>
              <a:rPr lang="en-GB" sz="2400" kern="0">
                <a:hlinkClick r:id="rId3"/>
              </a:rPr>
              <a:t>ORCID</a:t>
            </a:r>
            <a:r>
              <a:rPr lang="en-GB" sz="2400" kern="0"/>
              <a:t>, short for </a:t>
            </a:r>
            <a:r>
              <a:rPr lang="en-GB" sz="2400" b="1" kern="0"/>
              <a:t>Open Researcher and Contributor ID</a:t>
            </a:r>
            <a:r>
              <a:rPr lang="en-GB" sz="2400" kern="0"/>
              <a:t>, gives researchers and authors a single unique digital ID which works across the research landscape</a:t>
            </a:r>
          </a:p>
          <a:p>
            <a:pPr marL="0" indent="0">
              <a:buNone/>
              <a:defRPr/>
            </a:pPr>
            <a:endParaRPr lang="en-GB" sz="2400" kern="0"/>
          </a:p>
          <a:p>
            <a:pPr>
              <a:defRPr/>
            </a:pPr>
            <a:r>
              <a:rPr lang="en-GB" sz="2400" kern="0"/>
              <a:t>Eliminates name ambiguity</a:t>
            </a:r>
          </a:p>
          <a:p>
            <a:pPr>
              <a:defRPr/>
            </a:pPr>
            <a:r>
              <a:rPr lang="en-GB" sz="2400" kern="0"/>
              <a:t>Improves discoverability</a:t>
            </a:r>
          </a:p>
          <a:p>
            <a:pPr>
              <a:defRPr/>
            </a:pPr>
            <a:r>
              <a:rPr lang="en-GB" sz="2400" kern="0"/>
              <a:t>Connects your work – one profile for all your work</a:t>
            </a:r>
          </a:p>
          <a:p>
            <a:pPr>
              <a:defRPr/>
            </a:pPr>
            <a:r>
              <a:rPr lang="en-GB" sz="2400" kern="0"/>
              <a:t>Stays with you throughout your career -  institution and publisher agnostic</a:t>
            </a:r>
          </a:p>
          <a:p>
            <a:pPr>
              <a:defRPr/>
            </a:pPr>
            <a:r>
              <a:rPr lang="en-GB" sz="2400" kern="0"/>
              <a:t>Facilitates system integration</a:t>
            </a:r>
          </a:p>
          <a:p>
            <a:pPr>
              <a:defRPr/>
            </a:pPr>
            <a:endParaRPr lang="en-GB" kern="0" dirty="0"/>
          </a:p>
        </p:txBody>
      </p:sp>
      <p:pic>
        <p:nvPicPr>
          <p:cNvPr id="5" name="Picture 4">
            <a:extLst>
              <a:ext uri="{FF2B5EF4-FFF2-40B4-BE49-F238E27FC236}">
                <a16:creationId xmlns:a16="http://schemas.microsoft.com/office/drawing/2014/main" id="{E42CF1BD-F79D-F3BE-08E4-71D851A75956}"/>
              </a:ext>
            </a:extLst>
          </p:cNvPr>
          <p:cNvPicPr>
            <a:picLocks noChangeAspect="1"/>
          </p:cNvPicPr>
          <p:nvPr/>
        </p:nvPicPr>
        <p:blipFill>
          <a:blip r:embed="rId4"/>
          <a:stretch>
            <a:fillRect/>
          </a:stretch>
        </p:blipFill>
        <p:spPr>
          <a:xfrm>
            <a:off x="8088173" y="4526920"/>
            <a:ext cx="3877392" cy="2176461"/>
          </a:xfrm>
          <a:prstGeom prst="rect">
            <a:avLst/>
          </a:prstGeom>
        </p:spPr>
      </p:pic>
      <p:sp>
        <p:nvSpPr>
          <p:cNvPr id="7" name="TextBox 6">
            <a:extLst>
              <a:ext uri="{FF2B5EF4-FFF2-40B4-BE49-F238E27FC236}">
                <a16:creationId xmlns:a16="http://schemas.microsoft.com/office/drawing/2014/main" id="{9B63011E-EE6A-8A6C-4D85-8FDC72E39EDF}"/>
              </a:ext>
            </a:extLst>
          </p:cNvPr>
          <p:cNvSpPr txBox="1"/>
          <p:nvPr/>
        </p:nvSpPr>
        <p:spPr>
          <a:xfrm>
            <a:off x="1055828" y="5615150"/>
            <a:ext cx="6096000" cy="461665"/>
          </a:xfrm>
          <a:prstGeom prst="rect">
            <a:avLst/>
          </a:prstGeom>
          <a:noFill/>
        </p:spPr>
        <p:txBody>
          <a:bodyPr wrap="square">
            <a:spAutoFit/>
          </a:bodyPr>
          <a:lstStyle/>
          <a:p>
            <a:pPr>
              <a:spcBef>
                <a:spcPct val="0"/>
              </a:spcBef>
              <a:buFontTx/>
              <a:buNone/>
            </a:pPr>
            <a:r>
              <a:rPr lang="en-GB" altLang="en-US" sz="2400">
                <a:hlinkClick r:id="rId5"/>
              </a:rPr>
              <a:t>https://orcid.org/0000-0001-6033-0480</a:t>
            </a:r>
            <a:r>
              <a:rPr lang="en-GB" altLang="en-US" sz="2400"/>
              <a:t> </a:t>
            </a:r>
            <a:endParaRPr lang="en-GB" altLang="en-US" sz="2400" dirty="0"/>
          </a:p>
        </p:txBody>
      </p:sp>
    </p:spTree>
    <p:extLst>
      <p:ext uri="{BB962C8B-B14F-4D97-AF65-F5344CB8AC3E}">
        <p14:creationId xmlns:p14="http://schemas.microsoft.com/office/powerpoint/2010/main" val="4692279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Arc 10">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Content Placeholder 2">
            <a:extLst>
              <a:ext uri="{FF2B5EF4-FFF2-40B4-BE49-F238E27FC236}">
                <a16:creationId xmlns:a16="http://schemas.microsoft.com/office/drawing/2014/main" id="{68C7C57B-4852-136C-E5DA-CC498ED58F12}"/>
              </a:ext>
            </a:extLst>
          </p:cNvPr>
          <p:cNvSpPr>
            <a:spLocks noGrp="1"/>
          </p:cNvSpPr>
          <p:nvPr/>
        </p:nvSpPr>
        <p:spPr>
          <a:xfrm>
            <a:off x="4164223" y="241738"/>
            <a:ext cx="8024729" cy="6222124"/>
          </a:xfrm>
          <a:prstGeom prst="rect">
            <a:avLst/>
          </a:prstGeom>
        </p:spPr>
        <p:txBody>
          <a:bodyPr vert="horz" lIns="91440" tIns="45720" rIns="91440" bIns="45720"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b="1" dirty="0"/>
              <a:t>Funder mandates </a:t>
            </a:r>
            <a:r>
              <a:rPr lang="en-IE" dirty="0"/>
              <a:t>- </a:t>
            </a:r>
            <a:r>
              <a:rPr lang="en-IE" dirty="0">
                <a:hlinkClick r:id="rId3"/>
              </a:rPr>
              <a:t>https://v2.sherpa.ac.uk/juliet/</a:t>
            </a:r>
            <a:endParaRPr lang="en-IE" dirty="0"/>
          </a:p>
          <a:p>
            <a:endParaRPr lang="en-IE" dirty="0"/>
          </a:p>
          <a:p>
            <a:r>
              <a:rPr lang="en-IE" b="1" dirty="0"/>
              <a:t>Does journal offer funder compliant publishing route? </a:t>
            </a:r>
            <a:r>
              <a:rPr lang="en-IE" dirty="0"/>
              <a:t>- </a:t>
            </a:r>
            <a:r>
              <a:rPr lang="en-IE" dirty="0">
                <a:hlinkClick r:id="rId4"/>
              </a:rPr>
              <a:t>https://journalcheckertool.org/</a:t>
            </a:r>
            <a:r>
              <a:rPr lang="en-IE" dirty="0"/>
              <a:t> </a:t>
            </a:r>
            <a:r>
              <a:rPr lang="en-IE" b="1" dirty="0"/>
              <a:t>or </a:t>
            </a:r>
            <a:r>
              <a:rPr lang="en-IE" dirty="0">
                <a:hlinkClick r:id="rId5"/>
              </a:rPr>
              <a:t>https://v2.sherpa.ac.uk/romeo/</a:t>
            </a:r>
            <a:endParaRPr lang="en-IE" dirty="0"/>
          </a:p>
          <a:p>
            <a:endParaRPr lang="en-IE" dirty="0"/>
          </a:p>
          <a:p>
            <a:r>
              <a:rPr lang="en-IE" b="1" dirty="0"/>
              <a:t>Is there an </a:t>
            </a:r>
            <a:r>
              <a:rPr lang="en-IE" b="1" dirty="0" err="1"/>
              <a:t>IReL</a:t>
            </a:r>
            <a:r>
              <a:rPr lang="en-IE" b="1" dirty="0"/>
              <a:t> publishing deal that would cover an APC?  </a:t>
            </a:r>
            <a:r>
              <a:rPr lang="en-IE" dirty="0"/>
              <a:t>- </a:t>
            </a:r>
            <a:r>
              <a:rPr lang="en-IE" dirty="0">
                <a:hlinkClick r:id="rId6"/>
              </a:rPr>
              <a:t>https://irel.ie/open-access/</a:t>
            </a:r>
            <a:r>
              <a:rPr lang="en-IE" dirty="0"/>
              <a:t> or </a:t>
            </a:r>
            <a:r>
              <a:rPr lang="en-IE" dirty="0">
                <a:hlinkClick r:id="rId7"/>
              </a:rPr>
              <a:t>https://libguides.ucc.ie/OAatucc/publishyourresearch</a:t>
            </a:r>
            <a:endParaRPr lang="en-IE" dirty="0"/>
          </a:p>
          <a:p>
            <a:endParaRPr lang="en-IE" dirty="0"/>
          </a:p>
          <a:p>
            <a:r>
              <a:rPr lang="en-IE" b="1" dirty="0"/>
              <a:t>Is green open access enough, or do I need to pay for gold open access? </a:t>
            </a:r>
            <a:r>
              <a:rPr lang="en-IE" dirty="0">
                <a:hlinkClick r:id="rId4"/>
              </a:rPr>
              <a:t>Check the Plan S Journal Checker Tool</a:t>
            </a:r>
            <a:endParaRPr lang="en-IE" dirty="0"/>
          </a:p>
          <a:p>
            <a:endParaRPr lang="en-IE" dirty="0"/>
          </a:p>
          <a:p>
            <a:r>
              <a:rPr lang="en-IE" b="1" dirty="0"/>
              <a:t>Do I need to apply a rights retention licence/which one? </a:t>
            </a:r>
            <a:r>
              <a:rPr lang="en-IE" dirty="0">
                <a:hlinkClick r:id="rId8"/>
              </a:rPr>
              <a:t>https://creativecommons.org/about/cclicenses/</a:t>
            </a:r>
            <a:r>
              <a:rPr lang="en-IE" dirty="0"/>
              <a:t> </a:t>
            </a:r>
          </a:p>
        </p:txBody>
      </p:sp>
      <p:sp>
        <p:nvSpPr>
          <p:cNvPr id="3" name="TextBox 2">
            <a:extLst>
              <a:ext uri="{FF2B5EF4-FFF2-40B4-BE49-F238E27FC236}">
                <a16:creationId xmlns:a16="http://schemas.microsoft.com/office/drawing/2014/main" id="{3C424E34-D419-4B92-112B-BDE63567769C}"/>
              </a:ext>
            </a:extLst>
          </p:cNvPr>
          <p:cNvSpPr txBox="1"/>
          <p:nvPr/>
        </p:nvSpPr>
        <p:spPr>
          <a:xfrm>
            <a:off x="328127" y="2455479"/>
            <a:ext cx="3511017" cy="1569660"/>
          </a:xfrm>
          <a:prstGeom prst="rect">
            <a:avLst/>
          </a:prstGeom>
          <a:noFill/>
        </p:spPr>
        <p:txBody>
          <a:bodyPr wrap="square" rtlCol="0">
            <a:spAutoFit/>
          </a:bodyPr>
          <a:lstStyle/>
          <a:p>
            <a:r>
              <a:rPr lang="en-IE" sz="3200" b="1" dirty="0"/>
              <a:t>Pre-submission: </a:t>
            </a:r>
          </a:p>
          <a:p>
            <a:r>
              <a:rPr lang="en-IE" sz="3200" b="1" dirty="0"/>
              <a:t>Things to consider/</a:t>
            </a:r>
          </a:p>
          <a:p>
            <a:r>
              <a:rPr lang="en-IE" sz="3200" b="1" dirty="0"/>
              <a:t>check out</a:t>
            </a:r>
          </a:p>
        </p:txBody>
      </p:sp>
    </p:spTree>
    <p:extLst>
      <p:ext uri="{BB962C8B-B14F-4D97-AF65-F5344CB8AC3E}">
        <p14:creationId xmlns:p14="http://schemas.microsoft.com/office/powerpoint/2010/main" val="8416944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477482-8FD7-58D4-F4A0-BFD72AD4EB6F}"/>
              </a:ext>
            </a:extLst>
          </p:cNvPr>
          <p:cNvSpPr>
            <a:spLocks noGrp="1"/>
          </p:cNvSpPr>
          <p:nvPr>
            <p:ph type="title"/>
          </p:nvPr>
        </p:nvSpPr>
        <p:spPr>
          <a:xfrm>
            <a:off x="279816" y="0"/>
            <a:ext cx="11632367" cy="1325563"/>
          </a:xfrm>
          <a:solidFill>
            <a:srgbClr val="FF9933"/>
          </a:solidFill>
        </p:spPr>
        <p:txBody>
          <a:bodyPr>
            <a:normAutofit/>
          </a:bodyPr>
          <a:lstStyle/>
          <a:p>
            <a:r>
              <a:rPr lang="en-IE" sz="4800" b="1">
                <a:latin typeface="+mn-lt"/>
              </a:rPr>
              <a:t>Routes to open access for UCC researchers:</a:t>
            </a:r>
          </a:p>
        </p:txBody>
      </p:sp>
      <p:sp>
        <p:nvSpPr>
          <p:cNvPr id="5" name="Content Placeholder 4">
            <a:extLst>
              <a:ext uri="{FF2B5EF4-FFF2-40B4-BE49-F238E27FC236}">
                <a16:creationId xmlns:a16="http://schemas.microsoft.com/office/drawing/2014/main" id="{05856456-6BD6-850D-D11E-CA3486A2D90F}"/>
              </a:ext>
            </a:extLst>
          </p:cNvPr>
          <p:cNvSpPr>
            <a:spLocks noGrp="1"/>
          </p:cNvSpPr>
          <p:nvPr>
            <p:ph idx="1"/>
          </p:nvPr>
        </p:nvSpPr>
        <p:spPr>
          <a:xfrm>
            <a:off x="559633" y="1550416"/>
            <a:ext cx="11072734" cy="5000286"/>
          </a:xfrm>
        </p:spPr>
        <p:txBody>
          <a:bodyPr>
            <a:normAutofit fontScale="77500" lnSpcReduction="20000"/>
          </a:bodyPr>
          <a:lstStyle/>
          <a:p>
            <a:r>
              <a:rPr lang="en-IE" sz="4100" b="1" dirty="0">
                <a:solidFill>
                  <a:schemeClr val="accent6">
                    <a:lumMod val="75000"/>
                  </a:schemeClr>
                </a:solidFill>
                <a:latin typeface="Calibri"/>
              </a:rPr>
              <a:t>Green OA:</a:t>
            </a:r>
            <a:r>
              <a:rPr lang="en-US" sz="4100" b="1" dirty="0">
                <a:solidFill>
                  <a:schemeClr val="accent6">
                    <a:lumMod val="75000"/>
                  </a:schemeClr>
                </a:solidFill>
                <a:latin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3000" dirty="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E" sz="3000" dirty="0">
                <a:cs typeface="Segoe UI"/>
              </a:rPr>
              <a:t>Self-archiving a </a:t>
            </a:r>
            <a:r>
              <a:rPr lang="en-IE" sz="3000" dirty="0" err="1">
                <a:cs typeface="Segoe UI"/>
              </a:rPr>
              <a:t>postprint</a:t>
            </a:r>
            <a:r>
              <a:rPr lang="en-IE" sz="3000" dirty="0">
                <a:cs typeface="Segoe UI"/>
              </a:rPr>
              <a:t> (AAM) in UCC’s Open Access Repository – CORA  - in addition to traditional publication in subscription access journal authors deposit a draft copy of their articles (</a:t>
            </a:r>
            <a:r>
              <a:rPr lang="en-IE" sz="3000" dirty="0" err="1">
                <a:cs typeface="Segoe UI"/>
              </a:rPr>
              <a:t>postprint</a:t>
            </a:r>
            <a:r>
              <a:rPr lang="en-IE" sz="3000" dirty="0">
                <a:cs typeface="Segoe UI"/>
              </a:rPr>
              <a:t>) in an institutional repository e.g. CORA.  This may involve a temporary embargo on accessing the full text of article.</a:t>
            </a:r>
          </a:p>
          <a:p>
            <a:pPr marL="0" indent="0">
              <a:buNone/>
            </a:pPr>
            <a:endParaRPr lang="en-IE" sz="3000" b="1" dirty="0">
              <a:solidFill>
                <a:srgbClr val="CC9900"/>
              </a:solidFill>
              <a:cs typeface="Segoe UI"/>
            </a:endParaRPr>
          </a:p>
          <a:p>
            <a:r>
              <a:rPr lang="en-IE" sz="4100" b="1" dirty="0">
                <a:solidFill>
                  <a:srgbClr val="CC9900"/>
                </a:solidFill>
                <a:cs typeface="Segoe UI"/>
              </a:rPr>
              <a:t>Gold OA:</a:t>
            </a:r>
            <a:r>
              <a:rPr lang="en-US" sz="4100" dirty="0">
                <a:cs typeface="Segoe UI"/>
              </a:rPr>
              <a:t>​</a:t>
            </a:r>
            <a:endParaRPr lang="en-US" sz="4100" dirty="0">
              <a:cs typeface="Calibri"/>
            </a:endParaRPr>
          </a:p>
          <a:p>
            <a:pPr marL="0" indent="0">
              <a:buNone/>
            </a:pPr>
            <a:r>
              <a:rPr lang="en-IE" sz="3000" dirty="0">
                <a:cs typeface="Segoe UI"/>
              </a:rPr>
              <a:t>Articles are made openly accessible by the publisher, often for a fee, known as an article processing charge (APC) which covers publication costs</a:t>
            </a:r>
            <a:r>
              <a:rPr lang="en-US" sz="3000" dirty="0">
                <a:cs typeface="Segoe UI"/>
              </a:rPr>
              <a:t>​ (between €100 - €4k per paper)</a:t>
            </a:r>
          </a:p>
          <a:p>
            <a:endParaRPr lang="en-US" sz="3000" dirty="0">
              <a:solidFill>
                <a:srgbClr val="000000"/>
              </a:solidFill>
              <a:cs typeface="Segoe UI"/>
            </a:endParaRPr>
          </a:p>
          <a:p>
            <a:r>
              <a:rPr lang="en-IE" sz="4100" b="1" dirty="0">
                <a:solidFill>
                  <a:srgbClr val="7F7F7F"/>
                </a:solidFill>
                <a:cs typeface="Segoe UI"/>
              </a:rPr>
              <a:t>Diamond/Platinum OA:</a:t>
            </a:r>
            <a:r>
              <a:rPr lang="en-US" sz="4100" dirty="0">
                <a:cs typeface="Segoe UI"/>
              </a:rPr>
              <a:t>​</a:t>
            </a:r>
          </a:p>
          <a:p>
            <a:pPr marL="0" indent="0">
              <a:buNone/>
            </a:pPr>
            <a:r>
              <a:rPr lang="en-IE" sz="3000" dirty="0">
                <a:ea typeface="+mn-lt"/>
                <a:cs typeface="+mn-lt"/>
              </a:rPr>
              <a:t>Articles are made openly accessible by the publisher, but no fee is charged to the author.  Instead, publication costs are covered by institutions, funders, societies etc.  For example:  </a:t>
            </a:r>
            <a:r>
              <a:rPr lang="en-IE" sz="3000" dirty="0">
                <a:ea typeface="+mn-lt"/>
                <a:cs typeface="+mn-lt"/>
                <a:hlinkClick r:id="rId3"/>
              </a:rPr>
              <a:t>HRB Open Research</a:t>
            </a:r>
            <a:r>
              <a:rPr lang="en-US" sz="3000" dirty="0">
                <a:cs typeface="Segoe UI"/>
              </a:rPr>
              <a:t>​, </a:t>
            </a:r>
            <a:r>
              <a:rPr lang="en-US" sz="3000" dirty="0">
                <a:cs typeface="Segoe UI"/>
                <a:hlinkClick r:id="rId4"/>
              </a:rPr>
              <a:t>The Boolean</a:t>
            </a:r>
            <a:r>
              <a:rPr lang="en-US" sz="3000" dirty="0">
                <a:cs typeface="Segoe UI"/>
              </a:rPr>
              <a:t>, </a:t>
            </a:r>
            <a:r>
              <a:rPr lang="en-US" sz="3000" dirty="0">
                <a:cs typeface="Segoe UI"/>
                <a:hlinkClick r:id="rId5"/>
              </a:rPr>
              <a:t>Scenario</a:t>
            </a:r>
            <a:r>
              <a:rPr lang="en-US" sz="3000" dirty="0">
                <a:cs typeface="Segoe UI"/>
              </a:rPr>
              <a:t>, </a:t>
            </a:r>
            <a:r>
              <a:rPr lang="en-IE" sz="3000" dirty="0">
                <a:cs typeface="Segoe UI"/>
                <a:hlinkClick r:id="rId6"/>
              </a:rPr>
              <a:t>The Open Library of Humanities journal</a:t>
            </a:r>
            <a:r>
              <a:rPr lang="en-IE" sz="3000" dirty="0">
                <a:cs typeface="Segoe UI"/>
              </a:rPr>
              <a:t>, etc.</a:t>
            </a:r>
            <a:endParaRPr lang="en-US" sz="3000" dirty="0">
              <a:cs typeface="Calibri"/>
            </a:endParaRPr>
          </a:p>
          <a:p>
            <a:endParaRPr lang="en-IE" dirty="0"/>
          </a:p>
        </p:txBody>
      </p:sp>
    </p:spTree>
    <p:extLst>
      <p:ext uri="{BB962C8B-B14F-4D97-AF65-F5344CB8AC3E}">
        <p14:creationId xmlns:p14="http://schemas.microsoft.com/office/powerpoint/2010/main" val="1622518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5" name="Rectangle 64">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79F32E-BCB7-473D-A5B0-90F8AAC43C7B}"/>
              </a:ext>
            </a:extLst>
          </p:cNvPr>
          <p:cNvSpPr>
            <a:spLocks noGrp="1"/>
          </p:cNvSpPr>
          <p:nvPr>
            <p:ph type="title"/>
          </p:nvPr>
        </p:nvSpPr>
        <p:spPr>
          <a:xfrm>
            <a:off x="929640" y="299167"/>
            <a:ext cx="6416040" cy="906740"/>
          </a:xfrm>
        </p:spPr>
        <p:txBody>
          <a:bodyPr>
            <a:noAutofit/>
          </a:bodyPr>
          <a:lstStyle/>
          <a:p>
            <a:r>
              <a:rPr lang="en-IE" sz="3600" b="1">
                <a:latin typeface="Calibri"/>
                <a:ea typeface="+mn-ea"/>
                <a:cs typeface="+mn-cs"/>
              </a:rPr>
              <a:t>Green open access: </a:t>
            </a:r>
            <a:br>
              <a:rPr lang="en-IE" sz="3600" b="1">
                <a:latin typeface="Calibri"/>
                <a:ea typeface="+mn-ea"/>
                <a:cs typeface="+mn-cs"/>
              </a:rPr>
            </a:br>
            <a:r>
              <a:rPr lang="en-IE" sz="3600" b="1">
                <a:latin typeface="Calibri"/>
                <a:ea typeface="+mn-ea"/>
                <a:cs typeface="+mn-cs"/>
              </a:rPr>
              <a:t>Repository Based Open Access</a:t>
            </a:r>
            <a:endParaRPr lang="en-IE" sz="3600" b="1">
              <a:latin typeface="Calibri"/>
              <a:ea typeface="+mn-ea"/>
              <a:cs typeface="Calibri"/>
            </a:endParaRPr>
          </a:p>
        </p:txBody>
      </p:sp>
      <p:sp>
        <p:nvSpPr>
          <p:cNvPr id="67"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4AB441E-7A37-4C7E-8099-CBB8A41F8C2D}"/>
              </a:ext>
            </a:extLst>
          </p:cNvPr>
          <p:cNvSpPr>
            <a:spLocks noGrp="1"/>
          </p:cNvSpPr>
          <p:nvPr>
            <p:ph idx="1"/>
          </p:nvPr>
        </p:nvSpPr>
        <p:spPr>
          <a:xfrm>
            <a:off x="621016" y="1332411"/>
            <a:ext cx="10946920" cy="5525589"/>
          </a:xfrm>
        </p:spPr>
        <p:txBody>
          <a:bodyPr vert="horz" lIns="91440" tIns="45720" rIns="91440" bIns="45720" rtlCol="0" anchor="t">
            <a:noAutofit/>
          </a:bodyPr>
          <a:lstStyle/>
          <a:p>
            <a:endParaRPr lang="en-IE" sz="1900"/>
          </a:p>
          <a:p>
            <a:r>
              <a:rPr lang="en-IE" sz="1800"/>
              <a:t>Submitting your paper/book chapter to </a:t>
            </a:r>
            <a:r>
              <a:rPr lang="en-IE" sz="1800" b="1"/>
              <a:t>CORA  (</a:t>
            </a:r>
            <a:r>
              <a:rPr lang="en-IE" sz="1800"/>
              <a:t>UCC’s Open Access Repository) fulfils the requirements of </a:t>
            </a:r>
            <a:r>
              <a:rPr lang="en-IE" sz="1800">
                <a:hlinkClick r:id="rId3"/>
              </a:rPr>
              <a:t>UCC’s Open Access to  Publications Policy</a:t>
            </a:r>
            <a:r>
              <a:rPr lang="en-IE" sz="1800"/>
              <a:t> (2016).</a:t>
            </a:r>
            <a:endParaRPr lang="en-IE" sz="1800">
              <a:cs typeface="Calibri"/>
            </a:endParaRPr>
          </a:p>
          <a:p>
            <a:pPr marL="0" indent="0">
              <a:buNone/>
            </a:pPr>
            <a:endParaRPr lang="en-IE" sz="1800">
              <a:cs typeface="Calibri"/>
            </a:endParaRPr>
          </a:p>
          <a:p>
            <a:r>
              <a:rPr lang="en-IE" sz="1800"/>
              <a:t>Articles may be published in a subscription/toll-access journals but authors deposit their post print/author's accepted-manuscript in an open access repository, such as CORA .</a:t>
            </a:r>
            <a:endParaRPr lang="en-IE" sz="1800">
              <a:cs typeface="Calibri"/>
            </a:endParaRPr>
          </a:p>
          <a:p>
            <a:endParaRPr lang="en-IE" sz="1800"/>
          </a:p>
          <a:p>
            <a:r>
              <a:rPr lang="en-IE" sz="1800"/>
              <a:t>The CORA Team ensures that sharing the article complies with the publisher’s copyright policy - in some cases an embargo may apply.</a:t>
            </a:r>
            <a:endParaRPr lang="en-IE" sz="1800">
              <a:cs typeface="Calibri"/>
            </a:endParaRPr>
          </a:p>
          <a:p>
            <a:pPr marL="0" indent="0">
              <a:buNone/>
            </a:pPr>
            <a:endParaRPr lang="en-IE" sz="1800">
              <a:cs typeface="Calibri"/>
            </a:endParaRPr>
          </a:p>
          <a:p>
            <a:r>
              <a:rPr lang="en-IE" sz="1800"/>
              <a:t>Papers are accessible once archived in a repository &amp; following lifting of any embargoes </a:t>
            </a:r>
            <a:endParaRPr lang="en-IE" sz="1800">
              <a:cs typeface="Calibri"/>
            </a:endParaRPr>
          </a:p>
          <a:p>
            <a:pPr marL="0" indent="0">
              <a:buNone/>
            </a:pPr>
            <a:endParaRPr lang="en-IE" sz="1800">
              <a:cs typeface="Calibri"/>
            </a:endParaRPr>
          </a:p>
          <a:p>
            <a:r>
              <a:rPr lang="en-IE" sz="1800"/>
              <a:t>No author charges for archiving</a:t>
            </a:r>
            <a:endParaRPr lang="en-IE" sz="1800">
              <a:cs typeface="Calibri"/>
            </a:endParaRPr>
          </a:p>
          <a:p>
            <a:pPr marL="0" indent="0">
              <a:buNone/>
            </a:pPr>
            <a:endParaRPr lang="en-IE" sz="1800">
              <a:cs typeface="Calibri"/>
            </a:endParaRPr>
          </a:p>
          <a:p>
            <a:r>
              <a:rPr lang="en-IE" sz="1800"/>
              <a:t>Author / Institution / Funder driven</a:t>
            </a:r>
            <a:endParaRPr lang="en-IE" sz="1800">
              <a:cs typeface="Calibri"/>
            </a:endParaRPr>
          </a:p>
          <a:p>
            <a:endParaRPr lang="en-IE" sz="1900"/>
          </a:p>
          <a:p>
            <a:pPr marL="0" indent="0">
              <a:buNone/>
            </a:pPr>
            <a:endParaRPr lang="en-GB" sz="1900"/>
          </a:p>
          <a:p>
            <a:pPr marL="0" indent="0">
              <a:buNone/>
            </a:pPr>
            <a:endParaRPr lang="en-IE" sz="1900"/>
          </a:p>
        </p:txBody>
      </p:sp>
      <p:pic>
        <p:nvPicPr>
          <p:cNvPr id="7" name="Picture 2" descr="Archive your Research - Open Access - UCC Library at University College Cork">
            <a:extLst>
              <a:ext uri="{FF2B5EF4-FFF2-40B4-BE49-F238E27FC236}">
                <a16:creationId xmlns:a16="http://schemas.microsoft.com/office/drawing/2014/main" id="{588090E7-494E-486C-A77E-9B73725766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67797" y="172663"/>
            <a:ext cx="1323622" cy="115974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A picture containing text, clipart&#10;&#10;Description automatically generated">
            <a:extLst>
              <a:ext uri="{FF2B5EF4-FFF2-40B4-BE49-F238E27FC236}">
                <a16:creationId xmlns:a16="http://schemas.microsoft.com/office/drawing/2014/main" id="{7BA0BC39-CE8F-BD40-6A1B-BC3ADDAAD759}"/>
              </a:ext>
            </a:extLst>
          </p:cNvPr>
          <p:cNvPicPr>
            <a:picLocks noChangeAspect="1"/>
          </p:cNvPicPr>
          <p:nvPr/>
        </p:nvPicPr>
        <p:blipFill>
          <a:blip r:embed="rId5"/>
          <a:stretch>
            <a:fillRect/>
          </a:stretch>
        </p:blipFill>
        <p:spPr>
          <a:xfrm>
            <a:off x="7799000" y="531076"/>
            <a:ext cx="2466975" cy="647700"/>
          </a:xfrm>
          <a:prstGeom prst="rect">
            <a:avLst/>
          </a:prstGeom>
        </p:spPr>
      </p:pic>
    </p:spTree>
    <p:extLst>
      <p:ext uri="{BB962C8B-B14F-4D97-AF65-F5344CB8AC3E}">
        <p14:creationId xmlns:p14="http://schemas.microsoft.com/office/powerpoint/2010/main" val="1359101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AA818C76-3363-4133-84D0-FE70B23CFD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448272" y="275895"/>
            <a:ext cx="5719064" cy="120032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2612DAF-30E4-43AF-A2BF-0648BB123DBF}"/>
              </a:ext>
            </a:extLst>
          </p:cNvPr>
          <p:cNvSpPr txBox="1"/>
          <p:nvPr/>
        </p:nvSpPr>
        <p:spPr>
          <a:xfrm>
            <a:off x="792481" y="1476224"/>
            <a:ext cx="10607038" cy="4204356"/>
          </a:xfrm>
          <a:prstGeom prst="rect">
            <a:avLst/>
          </a:prstGeom>
          <a:noFill/>
        </p:spPr>
        <p:txBody>
          <a:bodyPr wrap="square" rtlCol="0">
            <a:spAutoFit/>
          </a:bodyPr>
          <a:lstStyle/>
          <a:p>
            <a:pPr>
              <a:lnSpc>
                <a:spcPct val="150000"/>
              </a:lnSpc>
            </a:pPr>
            <a:r>
              <a:rPr lang="en-IE" b="1"/>
              <a:t>How we can help:</a:t>
            </a:r>
          </a:p>
          <a:p>
            <a:pPr marL="285750" indent="-285750">
              <a:lnSpc>
                <a:spcPct val="150000"/>
              </a:lnSpc>
              <a:buFont typeface="Arial" panose="020B0604020202020204" pitchFamily="34" charset="0"/>
              <a:buChar char="•"/>
            </a:pPr>
            <a:r>
              <a:rPr lang="en-IE" b="1"/>
              <a:t>Open Access</a:t>
            </a:r>
            <a:r>
              <a:rPr lang="en-IE"/>
              <a:t>: </a:t>
            </a:r>
            <a:r>
              <a:rPr lang="en-IE">
                <a:hlinkClick r:id="rId3"/>
              </a:rPr>
              <a:t>CORA</a:t>
            </a:r>
            <a:r>
              <a:rPr lang="en-IE"/>
              <a:t> is University College Cork's online, open access institutional repository, giving free open access to UCC’s research publications,  inc. journal articles, book chapters, conference papers, theses.</a:t>
            </a:r>
          </a:p>
          <a:p>
            <a:pPr marL="285750" indent="-285750">
              <a:lnSpc>
                <a:spcPct val="150000"/>
              </a:lnSpc>
              <a:buFont typeface="Arial" panose="020B0604020202020204" pitchFamily="34" charset="0"/>
              <a:buChar char="•"/>
            </a:pPr>
            <a:r>
              <a:rPr lang="en-IE" b="1"/>
              <a:t>UCC Theses</a:t>
            </a:r>
            <a:r>
              <a:rPr lang="en-IE"/>
              <a:t>: CORA is the central repository for electronic copies of UCC postgraduate research </a:t>
            </a:r>
            <a:r>
              <a:rPr lang="en-IE">
                <a:hlinkClick r:id="rId4"/>
              </a:rPr>
              <a:t>theses</a:t>
            </a:r>
            <a:r>
              <a:rPr lang="en-IE"/>
              <a:t>. </a:t>
            </a:r>
          </a:p>
          <a:p>
            <a:pPr marL="285750" indent="-285750">
              <a:lnSpc>
                <a:spcPct val="150000"/>
              </a:lnSpc>
              <a:buFont typeface="Arial" panose="020B0604020202020204" pitchFamily="34" charset="0"/>
              <a:buChar char="•"/>
            </a:pPr>
            <a:r>
              <a:rPr lang="en-IE"/>
              <a:t>CORA supports </a:t>
            </a:r>
            <a:r>
              <a:rPr lang="en-IE" b="1"/>
              <a:t>Green Open Access publishing</a:t>
            </a:r>
            <a:r>
              <a:rPr lang="en-IE"/>
              <a:t>. This Green route involves no costs to researchers and enables you to deposit the final manuscript version of your papers in the CORA repository, where they will be archived and published open access.</a:t>
            </a:r>
          </a:p>
          <a:p>
            <a:pPr marL="285750" indent="-285750">
              <a:lnSpc>
                <a:spcPct val="150000"/>
              </a:lnSpc>
              <a:buFont typeface="Arial" panose="020B0604020202020204" pitchFamily="34" charset="0"/>
              <a:buChar char="•"/>
            </a:pPr>
            <a:r>
              <a:rPr lang="en-IE"/>
              <a:t>CORA offers advice on current </a:t>
            </a:r>
            <a:r>
              <a:rPr lang="en-IE" b="1"/>
              <a:t>Open Access Agreements</a:t>
            </a:r>
            <a:r>
              <a:rPr lang="en-IE"/>
              <a:t>: These allow corresponding authors to publish gold open access on publication, at no extra APC cost, with participating publishers (quotas apply).</a:t>
            </a:r>
          </a:p>
          <a:p>
            <a:pPr marL="285750" indent="-285750">
              <a:lnSpc>
                <a:spcPct val="150000"/>
              </a:lnSpc>
              <a:buFont typeface="Arial" panose="020B0604020202020204" pitchFamily="34" charset="0"/>
              <a:buChar char="•"/>
            </a:pPr>
            <a:endParaRPr lang="en-IE"/>
          </a:p>
        </p:txBody>
      </p:sp>
      <p:pic>
        <p:nvPicPr>
          <p:cNvPr id="1028" name="Picture 4">
            <a:extLst>
              <a:ext uri="{FF2B5EF4-FFF2-40B4-BE49-F238E27FC236}">
                <a16:creationId xmlns:a16="http://schemas.microsoft.com/office/drawing/2014/main" id="{83B994C8-0725-46A2-BE98-029739645C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0981" y="5094514"/>
            <a:ext cx="3181019" cy="166796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D4BB74F-896B-446B-83BB-77B6020D6780}"/>
              </a:ext>
            </a:extLst>
          </p:cNvPr>
          <p:cNvSpPr txBox="1"/>
          <p:nvPr/>
        </p:nvSpPr>
        <p:spPr>
          <a:xfrm>
            <a:off x="792481" y="5504887"/>
            <a:ext cx="4676759" cy="1015663"/>
          </a:xfrm>
          <a:prstGeom prst="rect">
            <a:avLst/>
          </a:prstGeom>
          <a:solidFill>
            <a:schemeClr val="bg1"/>
          </a:solidFill>
          <a:ln>
            <a:solidFill>
              <a:schemeClr val="tx1"/>
            </a:solidFill>
          </a:ln>
          <a:effectLst>
            <a:outerShdw blurRad="50800" dist="38100" dir="5400000" algn="t" rotWithShape="0">
              <a:prstClr val="black">
                <a:alpha val="40000"/>
              </a:prstClr>
            </a:outerShdw>
          </a:effectLst>
        </p:spPr>
        <p:txBody>
          <a:bodyPr wrap="square" rtlCol="0">
            <a:spAutoFit/>
          </a:bodyPr>
          <a:lstStyle/>
          <a:p>
            <a:r>
              <a:rPr lang="en-IE" sz="1200" b="1"/>
              <a:t>Resources:</a:t>
            </a:r>
          </a:p>
          <a:p>
            <a:r>
              <a:rPr lang="en-IE" sz="1200"/>
              <a:t>CORA: </a:t>
            </a:r>
            <a:r>
              <a:rPr lang="en-IE" sz="1200">
                <a:hlinkClick r:id="rId6"/>
              </a:rPr>
              <a:t>https://libguides.ucc.ie/OAatucc/cora</a:t>
            </a:r>
            <a:r>
              <a:rPr lang="en-IE" sz="1200"/>
              <a:t> </a:t>
            </a:r>
          </a:p>
          <a:p>
            <a:r>
              <a:rPr lang="en-IE" sz="1200"/>
              <a:t>Theses: </a:t>
            </a:r>
            <a:r>
              <a:rPr lang="en-IE" sz="1200">
                <a:hlinkClick r:id="rId7"/>
              </a:rPr>
              <a:t>https://libguides.ucc.ie/theses</a:t>
            </a:r>
            <a:r>
              <a:rPr lang="en-IE" sz="1200"/>
              <a:t> </a:t>
            </a:r>
          </a:p>
          <a:p>
            <a:r>
              <a:rPr lang="en-IE" sz="1200"/>
              <a:t>Open Access Agreements: </a:t>
            </a:r>
            <a:r>
              <a:rPr lang="en-IE" sz="1200">
                <a:hlinkClick r:id="rId8"/>
              </a:rPr>
              <a:t>https://libguides.ucc.ie/OAagreements/home</a:t>
            </a:r>
            <a:r>
              <a:rPr lang="en-IE" sz="1200"/>
              <a:t>  </a:t>
            </a:r>
          </a:p>
          <a:p>
            <a:endParaRPr lang="en-IE" sz="1200"/>
          </a:p>
        </p:txBody>
      </p:sp>
      <p:sp>
        <p:nvSpPr>
          <p:cNvPr id="8" name="TextBox 7">
            <a:extLst>
              <a:ext uri="{FF2B5EF4-FFF2-40B4-BE49-F238E27FC236}">
                <a16:creationId xmlns:a16="http://schemas.microsoft.com/office/drawing/2014/main" id="{0B8F0F84-7980-4666-BB78-78AD47C73504}"/>
              </a:ext>
            </a:extLst>
          </p:cNvPr>
          <p:cNvSpPr txBox="1"/>
          <p:nvPr/>
        </p:nvSpPr>
        <p:spPr>
          <a:xfrm>
            <a:off x="7294446" y="649408"/>
            <a:ext cx="4105073" cy="40011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txBody>
          <a:bodyPr wrap="square" rtlCol="0">
            <a:spAutoFit/>
          </a:bodyPr>
          <a:lstStyle/>
          <a:p>
            <a:r>
              <a:rPr lang="en-IE" sz="2000" b="1"/>
              <a:t>Contact us: 	</a:t>
            </a:r>
            <a:r>
              <a:rPr lang="en-IE" sz="2000" b="1">
                <a:hlinkClick r:id="rId9"/>
              </a:rPr>
              <a:t>cora@ucc.ie</a:t>
            </a:r>
            <a:r>
              <a:rPr lang="en-IE" sz="2000" b="1"/>
              <a:t> </a:t>
            </a:r>
            <a:endParaRPr lang="en-IE" sz="2000">
              <a:solidFill>
                <a:srgbClr val="003C69"/>
              </a:solidFill>
            </a:endParaRPr>
          </a:p>
        </p:txBody>
      </p:sp>
      <p:pic>
        <p:nvPicPr>
          <p:cNvPr id="11" name="Picture 10" descr="Text&#10;&#10;Description automatically generated">
            <a:extLst>
              <a:ext uri="{FF2B5EF4-FFF2-40B4-BE49-F238E27FC236}">
                <a16:creationId xmlns:a16="http://schemas.microsoft.com/office/drawing/2014/main" id="{3616B8A1-B39B-4063-98A5-D4277F07AC4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13958" y="5709831"/>
            <a:ext cx="3428203" cy="872274"/>
          </a:xfrm>
          <a:prstGeom prst="rect">
            <a:avLst/>
          </a:prstGeom>
        </p:spPr>
      </p:pic>
    </p:spTree>
    <p:extLst>
      <p:ext uri="{BB962C8B-B14F-4D97-AF65-F5344CB8AC3E}">
        <p14:creationId xmlns:p14="http://schemas.microsoft.com/office/powerpoint/2010/main" val="1367061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watch&#10;&#10;Description automatically generated">
            <a:extLst>
              <a:ext uri="{FF2B5EF4-FFF2-40B4-BE49-F238E27FC236}">
                <a16:creationId xmlns:a16="http://schemas.microsoft.com/office/drawing/2014/main" id="{A1AF696D-CAB9-4E1B-8A46-75A5B864414F}"/>
              </a:ext>
            </a:extLst>
          </p:cNvPr>
          <p:cNvPicPr>
            <a:picLocks noChangeAspect="1"/>
          </p:cNvPicPr>
          <p:nvPr/>
        </p:nvPicPr>
        <p:blipFill>
          <a:blip r:embed="rId3"/>
          <a:stretch>
            <a:fillRect/>
          </a:stretch>
        </p:blipFill>
        <p:spPr>
          <a:xfrm>
            <a:off x="1032078" y="856058"/>
            <a:ext cx="4076186" cy="4847890"/>
          </a:xfrm>
          <a:prstGeom prst="rect">
            <a:avLst/>
          </a:prstGeom>
        </p:spPr>
      </p:pic>
      <p:sp>
        <p:nvSpPr>
          <p:cNvPr id="14" name="Content Placeholder 2">
            <a:extLst>
              <a:ext uri="{FF2B5EF4-FFF2-40B4-BE49-F238E27FC236}">
                <a16:creationId xmlns:a16="http://schemas.microsoft.com/office/drawing/2014/main" id="{5547276B-FC52-4496-9B8E-38E6B936ED7A}"/>
              </a:ext>
            </a:extLst>
          </p:cNvPr>
          <p:cNvSpPr txBox="1">
            <a:spLocks/>
          </p:cNvSpPr>
          <p:nvPr/>
        </p:nvSpPr>
        <p:spPr>
          <a:xfrm>
            <a:off x="5292437" y="1201388"/>
            <a:ext cx="6825672" cy="5568867"/>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a:lstStyle>
          <a:p>
            <a:pPr marL="0" indent="0">
              <a:lnSpc>
                <a:spcPct val="90000"/>
              </a:lnSpc>
              <a:buNone/>
            </a:pPr>
            <a:endParaRPr lang="en-GB" sz="2400">
              <a:cs typeface="Calibri"/>
            </a:endParaRPr>
          </a:p>
          <a:p>
            <a:pPr>
              <a:lnSpc>
                <a:spcPct val="90000"/>
              </a:lnSpc>
            </a:pPr>
            <a:r>
              <a:rPr lang="en-GB" sz="2400"/>
              <a:t>A publication embargo is a temporary delay to full text availability in the institutional repository. The associated metadata is fully visible and discoverable, with links to the published article.</a:t>
            </a:r>
            <a:endParaRPr lang="en-GB" sz="2400">
              <a:cs typeface="Calibri" panose="020F0502020204030204"/>
            </a:endParaRPr>
          </a:p>
          <a:p>
            <a:pPr marL="0" indent="0">
              <a:lnSpc>
                <a:spcPct val="90000"/>
              </a:lnSpc>
              <a:buNone/>
            </a:pPr>
            <a:endParaRPr lang="en-GB" sz="2400">
              <a:cs typeface="Calibri" panose="020F0502020204030204"/>
            </a:endParaRPr>
          </a:p>
          <a:p>
            <a:pPr>
              <a:lnSpc>
                <a:spcPct val="90000"/>
              </a:lnSpc>
            </a:pPr>
            <a:r>
              <a:rPr lang="en-GB" sz="2400"/>
              <a:t>The length of these embargoes varies, with an average of 12 months. However, some publishers have no embargo at all on their self-archiving policy and allow accepted manuscripts to be made available at the time of article acceptance or at publication.</a:t>
            </a:r>
            <a:endParaRPr lang="en-GB" sz="2400">
              <a:cs typeface="Calibri"/>
            </a:endParaRPr>
          </a:p>
          <a:p>
            <a:pPr marL="0" indent="0">
              <a:lnSpc>
                <a:spcPct val="90000"/>
              </a:lnSpc>
              <a:buNone/>
            </a:pPr>
            <a:endParaRPr lang="en-GB" sz="2400">
              <a:cs typeface="Calibri"/>
            </a:endParaRPr>
          </a:p>
          <a:p>
            <a:pPr>
              <a:lnSpc>
                <a:spcPct val="90000"/>
              </a:lnSpc>
            </a:pPr>
            <a:r>
              <a:rPr lang="en-GB" sz="2400"/>
              <a:t>You can find out if your journal applies an embargo using the Sherpa Romeo tool: </a:t>
            </a:r>
            <a:r>
              <a:rPr lang="en-GB" sz="2400">
                <a:hlinkClick r:id="rId4"/>
              </a:rPr>
              <a:t>https://v2.sherpa.ac.uk/romeo/</a:t>
            </a:r>
            <a:r>
              <a:rPr lang="en-GB" sz="2400"/>
              <a:t> </a:t>
            </a:r>
            <a:endParaRPr lang="en-GB"/>
          </a:p>
          <a:p>
            <a:pPr marL="0" indent="0">
              <a:lnSpc>
                <a:spcPct val="90000"/>
              </a:lnSpc>
              <a:buNone/>
            </a:pPr>
            <a:endParaRPr lang="en-GB" sz="2400">
              <a:cs typeface="Calibri"/>
            </a:endParaRPr>
          </a:p>
          <a:p>
            <a:pPr>
              <a:lnSpc>
                <a:spcPct val="90000"/>
              </a:lnSpc>
            </a:pPr>
            <a:r>
              <a:rPr lang="en-GB" sz="2400">
                <a:cs typeface="Calibri"/>
              </a:rPr>
              <a:t>The CORA team check publication embargoes as part of their processing workflow. Publication embargoes will be applied by the team.</a:t>
            </a:r>
          </a:p>
          <a:p>
            <a:pPr marL="0" indent="0">
              <a:lnSpc>
                <a:spcPct val="90000"/>
              </a:lnSpc>
              <a:buNone/>
            </a:pPr>
            <a:endParaRPr lang="en-GB" sz="2400">
              <a:cs typeface="Calibri"/>
            </a:endParaRPr>
          </a:p>
          <a:p>
            <a:pPr>
              <a:lnSpc>
                <a:spcPct val="90000"/>
              </a:lnSpc>
            </a:pPr>
            <a:endParaRPr lang="en-IE" sz="1600"/>
          </a:p>
        </p:txBody>
      </p:sp>
      <p:sp>
        <p:nvSpPr>
          <p:cNvPr id="15" name="Title 1">
            <a:extLst>
              <a:ext uri="{FF2B5EF4-FFF2-40B4-BE49-F238E27FC236}">
                <a16:creationId xmlns:a16="http://schemas.microsoft.com/office/drawing/2014/main" id="{819CA31D-D5F9-4338-AF29-8855658E3630}"/>
              </a:ext>
            </a:extLst>
          </p:cNvPr>
          <p:cNvSpPr>
            <a:spLocks noGrp="1"/>
          </p:cNvSpPr>
          <p:nvPr>
            <p:ph type="title"/>
          </p:nvPr>
        </p:nvSpPr>
        <p:spPr>
          <a:xfrm>
            <a:off x="4102250" y="87745"/>
            <a:ext cx="7729728" cy="768313"/>
          </a:xfrm>
        </p:spPr>
        <p:txBody>
          <a:bodyPr>
            <a:normAutofit/>
          </a:bodyPr>
          <a:lstStyle/>
          <a:p>
            <a:r>
              <a:rPr lang="en-IE" sz="3600" b="1">
                <a:solidFill>
                  <a:srgbClr val="008000"/>
                </a:solidFill>
                <a:latin typeface="Calibri"/>
                <a:ea typeface="+mn-ea"/>
                <a:cs typeface="+mn-cs"/>
              </a:rPr>
              <a:t>What about ‘Embargoes’?</a:t>
            </a:r>
          </a:p>
        </p:txBody>
      </p:sp>
      <p:sp>
        <p:nvSpPr>
          <p:cNvPr id="16" name="TextBox 15">
            <a:extLst>
              <a:ext uri="{FF2B5EF4-FFF2-40B4-BE49-F238E27FC236}">
                <a16:creationId xmlns:a16="http://schemas.microsoft.com/office/drawing/2014/main" id="{097586EC-7AF2-4159-82EC-946E223D9058}"/>
              </a:ext>
            </a:extLst>
          </p:cNvPr>
          <p:cNvSpPr txBox="1"/>
          <p:nvPr/>
        </p:nvSpPr>
        <p:spPr>
          <a:xfrm>
            <a:off x="5444282" y="6476667"/>
            <a:ext cx="6858000" cy="369332"/>
          </a:xfrm>
          <a:prstGeom prst="rect">
            <a:avLst/>
          </a:prstGeom>
          <a:noFill/>
        </p:spPr>
        <p:txBody>
          <a:bodyPr wrap="square" lIns="91440" tIns="45720" rIns="91440" bIns="45720" rtlCol="0" anchor="t">
            <a:spAutoFit/>
          </a:bodyPr>
          <a:lstStyle/>
          <a:p>
            <a:endParaRPr lang="en-IE">
              <a:cs typeface="Calibri"/>
            </a:endParaRPr>
          </a:p>
        </p:txBody>
      </p:sp>
    </p:spTree>
    <p:extLst>
      <p:ext uri="{BB962C8B-B14F-4D97-AF65-F5344CB8AC3E}">
        <p14:creationId xmlns:p14="http://schemas.microsoft.com/office/powerpoint/2010/main" val="1764293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4" descr="Example of embargoed fulltext&#10;http://hdl.handle.net/10468/13785 ">
            <a:extLst>
              <a:ext uri="{FF2B5EF4-FFF2-40B4-BE49-F238E27FC236}">
                <a16:creationId xmlns:a16="http://schemas.microsoft.com/office/drawing/2014/main" id="{355FCA81-6328-8F8E-D5F6-7CC4057D52B1}"/>
              </a:ext>
            </a:extLst>
          </p:cNvPr>
          <p:cNvPicPr>
            <a:picLocks noChangeAspect="1"/>
          </p:cNvPicPr>
          <p:nvPr/>
        </p:nvPicPr>
        <p:blipFill rotWithShape="1">
          <a:blip r:embed="rId2"/>
          <a:srcRect b="10731"/>
          <a:stretch/>
        </p:blipFill>
        <p:spPr>
          <a:xfrm>
            <a:off x="20" y="1282"/>
            <a:ext cx="12191980" cy="6856718"/>
          </a:xfrm>
          <a:prstGeom prst="rect">
            <a:avLst/>
          </a:prstGeom>
        </p:spPr>
      </p:pic>
      <p:sp>
        <p:nvSpPr>
          <p:cNvPr id="5" name="TextBox 4">
            <a:extLst>
              <a:ext uri="{FF2B5EF4-FFF2-40B4-BE49-F238E27FC236}">
                <a16:creationId xmlns:a16="http://schemas.microsoft.com/office/drawing/2014/main" id="{2D29E132-4BC8-86B9-28CF-65E96F356CFA}"/>
              </a:ext>
            </a:extLst>
          </p:cNvPr>
          <p:cNvSpPr txBox="1"/>
          <p:nvPr/>
        </p:nvSpPr>
        <p:spPr>
          <a:xfrm>
            <a:off x="167268" y="5408340"/>
            <a:ext cx="3582097" cy="369332"/>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hlinkClick r:id="rId3"/>
              </a:rPr>
              <a:t>http://hdl.handle.net/10468/13785</a:t>
            </a:r>
            <a:r>
              <a:rPr lang="en-US">
                <a:cs typeface="Calibri"/>
              </a:rPr>
              <a:t> </a:t>
            </a:r>
            <a:endParaRPr lang="en-US"/>
          </a:p>
        </p:txBody>
      </p:sp>
      <p:sp>
        <p:nvSpPr>
          <p:cNvPr id="6" name="TextBox 5">
            <a:extLst>
              <a:ext uri="{FF2B5EF4-FFF2-40B4-BE49-F238E27FC236}">
                <a16:creationId xmlns:a16="http://schemas.microsoft.com/office/drawing/2014/main" id="{0FC81F59-AF3F-F30D-4221-4A420928BA59}"/>
              </a:ext>
            </a:extLst>
          </p:cNvPr>
          <p:cNvSpPr txBox="1"/>
          <p:nvPr/>
        </p:nvSpPr>
        <p:spPr>
          <a:xfrm>
            <a:off x="204439" y="4832195"/>
            <a:ext cx="3331194" cy="369332"/>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Example of embargoed </a:t>
            </a:r>
            <a:r>
              <a:rPr lang="en-US" err="1">
                <a:cs typeface="Calibri"/>
              </a:rPr>
              <a:t>fulltext</a:t>
            </a:r>
            <a:endParaRPr lang="en-US" err="1"/>
          </a:p>
        </p:txBody>
      </p:sp>
      <p:sp>
        <p:nvSpPr>
          <p:cNvPr id="7" name="TextBox 6">
            <a:extLst>
              <a:ext uri="{FF2B5EF4-FFF2-40B4-BE49-F238E27FC236}">
                <a16:creationId xmlns:a16="http://schemas.microsoft.com/office/drawing/2014/main" id="{FA09C637-8AB7-C43C-6461-4B0944873E1F}"/>
              </a:ext>
            </a:extLst>
          </p:cNvPr>
          <p:cNvSpPr txBox="1"/>
          <p:nvPr/>
        </p:nvSpPr>
        <p:spPr>
          <a:xfrm>
            <a:off x="2025804" y="6439829"/>
            <a:ext cx="180975" cy="3619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7370674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2" descr="Graphical user interface, text, application, email&#10;&#10;Description automatically generated">
            <a:extLst>
              <a:ext uri="{FF2B5EF4-FFF2-40B4-BE49-F238E27FC236}">
                <a16:creationId xmlns:a16="http://schemas.microsoft.com/office/drawing/2014/main" id="{245E2E5A-85D2-C246-0656-8F72AE314D52}"/>
              </a:ext>
            </a:extLst>
          </p:cNvPr>
          <p:cNvPicPr>
            <a:picLocks noChangeAspect="1"/>
          </p:cNvPicPr>
          <p:nvPr/>
        </p:nvPicPr>
        <p:blipFill rotWithShape="1">
          <a:blip r:embed="rId2"/>
          <a:srcRect t="2274" r="1" b="22367"/>
          <a:stretch/>
        </p:blipFill>
        <p:spPr>
          <a:xfrm>
            <a:off x="29582" y="-40214"/>
            <a:ext cx="11798300" cy="6512763"/>
          </a:xfrm>
          <a:prstGeom prst="rect">
            <a:avLst/>
          </a:prstGeom>
        </p:spPr>
      </p:pic>
      <p:sp>
        <p:nvSpPr>
          <p:cNvPr id="3" name="TextBox 2">
            <a:extLst>
              <a:ext uri="{FF2B5EF4-FFF2-40B4-BE49-F238E27FC236}">
                <a16:creationId xmlns:a16="http://schemas.microsoft.com/office/drawing/2014/main" id="{90E26C2B-7C0D-B8D6-9044-F0445A9C2F4F}"/>
              </a:ext>
            </a:extLst>
          </p:cNvPr>
          <p:cNvSpPr txBox="1"/>
          <p:nvPr/>
        </p:nvSpPr>
        <p:spPr>
          <a:xfrm>
            <a:off x="157974" y="5584902"/>
            <a:ext cx="3424121" cy="64633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hlinkClick r:id="rId3"/>
              </a:rPr>
              <a:t>http://hdl.handle.net/10468/9804</a:t>
            </a:r>
            <a:r>
              <a:rPr lang="en-US">
                <a:cs typeface="Calibri"/>
              </a:rPr>
              <a:t> </a:t>
            </a:r>
            <a:endParaRPr lang="en-US"/>
          </a:p>
        </p:txBody>
      </p:sp>
      <p:sp>
        <p:nvSpPr>
          <p:cNvPr id="4" name="TextBox 3">
            <a:extLst>
              <a:ext uri="{FF2B5EF4-FFF2-40B4-BE49-F238E27FC236}">
                <a16:creationId xmlns:a16="http://schemas.microsoft.com/office/drawing/2014/main" id="{E6FE1E7E-202A-D36E-FF25-6004D0C2447F}"/>
              </a:ext>
            </a:extLst>
          </p:cNvPr>
          <p:cNvSpPr txBox="1"/>
          <p:nvPr/>
        </p:nvSpPr>
        <p:spPr>
          <a:xfrm>
            <a:off x="55755" y="4943707"/>
            <a:ext cx="4065315" cy="369332"/>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Embargo lifted. Fulltext AV available</a:t>
            </a:r>
            <a:endParaRPr lang="en-US" err="1"/>
          </a:p>
        </p:txBody>
      </p:sp>
    </p:spTree>
    <p:extLst>
      <p:ext uri="{BB962C8B-B14F-4D97-AF65-F5344CB8AC3E}">
        <p14:creationId xmlns:p14="http://schemas.microsoft.com/office/powerpoint/2010/main" val="21491178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2" descr="Graphical user interface, text, application, email&#10;&#10;Description automatically generated">
            <a:extLst>
              <a:ext uri="{FF2B5EF4-FFF2-40B4-BE49-F238E27FC236}">
                <a16:creationId xmlns:a16="http://schemas.microsoft.com/office/drawing/2014/main" id="{987ED9FC-B6AE-8381-BC05-C77289DA5109}"/>
              </a:ext>
            </a:extLst>
          </p:cNvPr>
          <p:cNvPicPr>
            <a:picLocks noChangeAspect="1"/>
          </p:cNvPicPr>
          <p:nvPr/>
        </p:nvPicPr>
        <p:blipFill rotWithShape="1">
          <a:blip r:embed="rId2"/>
          <a:srcRect t="2535" b="31301"/>
          <a:stretch/>
        </p:blipFill>
        <p:spPr>
          <a:xfrm>
            <a:off x="-148663" y="-82352"/>
            <a:ext cx="12191980" cy="6856718"/>
          </a:xfrm>
          <a:prstGeom prst="rect">
            <a:avLst/>
          </a:prstGeom>
        </p:spPr>
      </p:pic>
    </p:spTree>
    <p:extLst>
      <p:ext uri="{BB962C8B-B14F-4D97-AF65-F5344CB8AC3E}">
        <p14:creationId xmlns:p14="http://schemas.microsoft.com/office/powerpoint/2010/main" val="14011712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b="1">
                <a:solidFill>
                  <a:srgbClr val="008000"/>
                </a:solidFill>
                <a:latin typeface="Calibri"/>
                <a:ea typeface="+mn-ea"/>
                <a:cs typeface="+mn-cs"/>
              </a:rPr>
              <a:t>How to Add Materials to CORA</a:t>
            </a:r>
          </a:p>
        </p:txBody>
      </p:sp>
      <p:sp>
        <p:nvSpPr>
          <p:cNvPr id="4" name="Text Placeholder 3"/>
          <p:cNvSpPr>
            <a:spLocks noGrp="1"/>
          </p:cNvSpPr>
          <p:nvPr>
            <p:ph type="body" idx="1"/>
          </p:nvPr>
        </p:nvSpPr>
        <p:spPr/>
        <p:txBody>
          <a:bodyPr>
            <a:normAutofit/>
          </a:bodyPr>
          <a:lstStyle/>
          <a:p>
            <a:r>
              <a:rPr lang="en-GB" sz="3200"/>
              <a:t>DIY: Do it yourself</a:t>
            </a:r>
          </a:p>
        </p:txBody>
      </p:sp>
      <p:sp>
        <p:nvSpPr>
          <p:cNvPr id="3" name="Content Placeholder 2"/>
          <p:cNvSpPr>
            <a:spLocks noGrp="1"/>
          </p:cNvSpPr>
          <p:nvPr>
            <p:ph sz="half" idx="2"/>
          </p:nvPr>
        </p:nvSpPr>
        <p:spPr>
          <a:xfrm>
            <a:off x="618551" y="2681244"/>
            <a:ext cx="6165019" cy="3684588"/>
          </a:xfrm>
        </p:spPr>
        <p:txBody>
          <a:bodyPr>
            <a:normAutofit/>
          </a:bodyPr>
          <a:lstStyle/>
          <a:p>
            <a:endParaRPr lang="en-GB" sz="1900"/>
          </a:p>
          <a:p>
            <a:r>
              <a:rPr lang="en-GB"/>
              <a:t>Send your publications via e-mail </a:t>
            </a:r>
            <a:r>
              <a:rPr lang="en-GB">
                <a:hlinkClick r:id="rId3"/>
              </a:rPr>
              <a:t>cora@ucc.ie</a:t>
            </a:r>
            <a:r>
              <a:rPr lang="en-GB"/>
              <a:t>  </a:t>
            </a:r>
          </a:p>
          <a:p>
            <a:r>
              <a:rPr lang="en-GB"/>
              <a:t>Upload publications through your IRIS profile</a:t>
            </a:r>
          </a:p>
          <a:p>
            <a:r>
              <a:rPr lang="en-GB"/>
              <a:t>PhD students submit their doctoral </a:t>
            </a:r>
            <a:r>
              <a:rPr lang="en-GB" err="1"/>
              <a:t>etheses</a:t>
            </a:r>
            <a:r>
              <a:rPr lang="en-GB"/>
              <a:t> through CORA</a:t>
            </a:r>
          </a:p>
          <a:p>
            <a:pPr marL="324000" lvl="1" indent="0">
              <a:buNone/>
            </a:pPr>
            <a:endParaRPr lang="en-GB" sz="2000"/>
          </a:p>
        </p:txBody>
      </p:sp>
      <p:pic>
        <p:nvPicPr>
          <p:cNvPr id="12" name="Content Placeholder 11">
            <a:extLst>
              <a:ext uri="{FF2B5EF4-FFF2-40B4-BE49-F238E27FC236}">
                <a16:creationId xmlns:a16="http://schemas.microsoft.com/office/drawing/2014/main" id="{C4F700EB-B9AF-4F5F-BD18-59F000C458F2}"/>
              </a:ext>
            </a:extLst>
          </p:cNvPr>
          <p:cNvPicPr>
            <a:picLocks noGrp="1" noChangeAspect="1"/>
          </p:cNvPicPr>
          <p:nvPr>
            <p:ph sz="quarter" idx="4"/>
          </p:nvPr>
        </p:nvPicPr>
        <p:blipFill>
          <a:blip r:embed="rId4"/>
          <a:stretch>
            <a:fillRect/>
          </a:stretch>
        </p:blipFill>
        <p:spPr>
          <a:xfrm>
            <a:off x="8232589" y="2773607"/>
            <a:ext cx="3012724" cy="2412000"/>
          </a:xfrm>
          <a:prstGeom prst="rect">
            <a:avLst/>
          </a:prstGeom>
        </p:spPr>
      </p:pic>
    </p:spTree>
    <p:extLst>
      <p:ext uri="{BB962C8B-B14F-4D97-AF65-F5344CB8AC3E}">
        <p14:creationId xmlns:p14="http://schemas.microsoft.com/office/powerpoint/2010/main" val="40536852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9303B3-EF14-4874-86AE-5345CC0A8A7E}"/>
              </a:ext>
            </a:extLst>
          </p:cNvPr>
          <p:cNvSpPr>
            <a:spLocks noGrp="1"/>
          </p:cNvSpPr>
          <p:nvPr>
            <p:ph type="title"/>
          </p:nvPr>
        </p:nvSpPr>
        <p:spPr>
          <a:xfrm>
            <a:off x="838200" y="217799"/>
            <a:ext cx="10515600" cy="1325563"/>
          </a:xfrm>
        </p:spPr>
        <p:txBody>
          <a:bodyPr/>
          <a:lstStyle/>
          <a:p>
            <a:r>
              <a:rPr lang="en-IE" b="1" dirty="0">
                <a:solidFill>
                  <a:schemeClr val="accent6">
                    <a:lumMod val="75000"/>
                  </a:schemeClr>
                </a:solidFill>
                <a:latin typeface="Avenir Next LT Pro" panose="020B0504020202020204" pitchFamily="34" charset="0"/>
              </a:rPr>
              <a:t>Funder Publishing Platforms</a:t>
            </a:r>
            <a:endParaRPr lang="en-IE" dirty="0"/>
          </a:p>
        </p:txBody>
      </p:sp>
      <p:pic>
        <p:nvPicPr>
          <p:cNvPr id="4" name="Picture 3">
            <a:extLst>
              <a:ext uri="{FF2B5EF4-FFF2-40B4-BE49-F238E27FC236}">
                <a16:creationId xmlns:a16="http://schemas.microsoft.com/office/drawing/2014/main" id="{418E5613-2729-49F8-ADD7-F9FC84FDD724}"/>
              </a:ext>
            </a:extLst>
          </p:cNvPr>
          <p:cNvPicPr>
            <a:picLocks noChangeAspect="1"/>
          </p:cNvPicPr>
          <p:nvPr/>
        </p:nvPicPr>
        <p:blipFill>
          <a:blip r:embed="rId3"/>
          <a:stretch>
            <a:fillRect/>
          </a:stretch>
        </p:blipFill>
        <p:spPr>
          <a:xfrm>
            <a:off x="144517" y="1312133"/>
            <a:ext cx="9144000" cy="4002505"/>
          </a:xfrm>
          <a:prstGeom prst="rect">
            <a:avLst/>
          </a:prstGeom>
        </p:spPr>
      </p:pic>
      <p:pic>
        <p:nvPicPr>
          <p:cNvPr id="7" name="Picture 6">
            <a:extLst>
              <a:ext uri="{FF2B5EF4-FFF2-40B4-BE49-F238E27FC236}">
                <a16:creationId xmlns:a16="http://schemas.microsoft.com/office/drawing/2014/main" id="{DA5C7E70-D77B-46C5-AA18-2B409BEA27C8}"/>
              </a:ext>
            </a:extLst>
          </p:cNvPr>
          <p:cNvPicPr>
            <a:picLocks noChangeAspect="1"/>
          </p:cNvPicPr>
          <p:nvPr/>
        </p:nvPicPr>
        <p:blipFill>
          <a:blip r:embed="rId4"/>
          <a:stretch>
            <a:fillRect/>
          </a:stretch>
        </p:blipFill>
        <p:spPr>
          <a:xfrm>
            <a:off x="2713667" y="2407872"/>
            <a:ext cx="8153400" cy="3600450"/>
          </a:xfrm>
          <a:prstGeom prst="rect">
            <a:avLst/>
          </a:prstGeom>
        </p:spPr>
      </p:pic>
      <p:pic>
        <p:nvPicPr>
          <p:cNvPr id="3" name="Picture 2">
            <a:extLst>
              <a:ext uri="{FF2B5EF4-FFF2-40B4-BE49-F238E27FC236}">
                <a16:creationId xmlns:a16="http://schemas.microsoft.com/office/drawing/2014/main" id="{FA05D387-95DA-00D4-5482-24A633112A60}"/>
              </a:ext>
            </a:extLst>
          </p:cNvPr>
          <p:cNvPicPr>
            <a:picLocks noChangeAspect="1"/>
          </p:cNvPicPr>
          <p:nvPr/>
        </p:nvPicPr>
        <p:blipFill rotWithShape="1">
          <a:blip r:embed="rId5"/>
          <a:srcRect t="9157" r="50776" b="4407"/>
          <a:stretch/>
        </p:blipFill>
        <p:spPr>
          <a:xfrm>
            <a:off x="5803708" y="3313385"/>
            <a:ext cx="6159418" cy="3179490"/>
          </a:xfrm>
          <a:prstGeom prst="rect">
            <a:avLst/>
          </a:prstGeom>
          <a:ln w="38100" cap="sq">
            <a:solidFill>
              <a:srgbClr val="0070C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131503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DBE5B-77E3-44C1-9544-C4E1A4AFDE19}"/>
              </a:ext>
            </a:extLst>
          </p:cNvPr>
          <p:cNvSpPr>
            <a:spLocks noGrp="1"/>
          </p:cNvSpPr>
          <p:nvPr>
            <p:ph type="title"/>
          </p:nvPr>
        </p:nvSpPr>
        <p:spPr>
          <a:xfrm>
            <a:off x="838200" y="364490"/>
            <a:ext cx="10515600" cy="783164"/>
          </a:xfrm>
          <a:solidFill>
            <a:srgbClr val="F59905"/>
          </a:solidFill>
        </p:spPr>
        <p:txBody>
          <a:bodyPr>
            <a:normAutofit fontScale="90000"/>
          </a:bodyPr>
          <a:lstStyle/>
          <a:p>
            <a:br>
              <a:rPr lang="en-US" altLang="en-US" sz="4000" b="1" dirty="0"/>
            </a:br>
            <a:r>
              <a:rPr lang="en-US" altLang="en-US" sz="4900" b="1" dirty="0"/>
              <a:t>Research lifecycle</a:t>
            </a:r>
            <a:br>
              <a:rPr lang="en-US" altLang="en-US" b="1" dirty="0">
                <a:latin typeface="Arial"/>
                <a:cs typeface="Arial"/>
              </a:rPr>
            </a:br>
            <a:endParaRPr lang="en-IE" dirty="0"/>
          </a:p>
        </p:txBody>
      </p:sp>
      <p:pic>
        <p:nvPicPr>
          <p:cNvPr id="4" name="Picture 5" descr="A screenshot of a social media post&#10;&#10;Description generated with very high confidence">
            <a:extLst>
              <a:ext uri="{FF2B5EF4-FFF2-40B4-BE49-F238E27FC236}">
                <a16:creationId xmlns:a16="http://schemas.microsoft.com/office/drawing/2014/main" id="{054CC7A1-4FC6-9376-7261-87DB8CE9CCCA}"/>
              </a:ext>
            </a:extLst>
          </p:cNvPr>
          <p:cNvPicPr>
            <a:picLocks noGrp="1" noChangeAspect="1"/>
          </p:cNvPicPr>
          <p:nvPr>
            <p:ph idx="1"/>
          </p:nvPr>
        </p:nvPicPr>
        <p:blipFill>
          <a:blip r:embed="rId2"/>
          <a:stretch>
            <a:fillRect/>
          </a:stretch>
        </p:blipFill>
        <p:spPr>
          <a:xfrm>
            <a:off x="913592" y="1148289"/>
            <a:ext cx="9713176" cy="4351338"/>
          </a:xfrm>
          <a:prstGeom prst="rect">
            <a:avLst/>
          </a:prstGeom>
        </p:spPr>
      </p:pic>
      <p:pic>
        <p:nvPicPr>
          <p:cNvPr id="5" name="Picture 4">
            <a:extLst>
              <a:ext uri="{FF2B5EF4-FFF2-40B4-BE49-F238E27FC236}">
                <a16:creationId xmlns:a16="http://schemas.microsoft.com/office/drawing/2014/main" id="{E6D5C438-8B93-5AE8-E4DB-9D8C92D1C25F}"/>
              </a:ext>
            </a:extLst>
          </p:cNvPr>
          <p:cNvPicPr>
            <a:picLocks noChangeAspect="1"/>
          </p:cNvPicPr>
          <p:nvPr/>
        </p:nvPicPr>
        <p:blipFill>
          <a:blip r:embed="rId3"/>
          <a:stretch>
            <a:fillRect/>
          </a:stretch>
        </p:blipFill>
        <p:spPr>
          <a:xfrm>
            <a:off x="9846741" y="4534728"/>
            <a:ext cx="1963082" cy="2139881"/>
          </a:xfrm>
          <a:prstGeom prst="rect">
            <a:avLst/>
          </a:prstGeom>
        </p:spPr>
      </p:pic>
      <p:sp>
        <p:nvSpPr>
          <p:cNvPr id="6" name="Arrow: Up 5">
            <a:extLst>
              <a:ext uri="{FF2B5EF4-FFF2-40B4-BE49-F238E27FC236}">
                <a16:creationId xmlns:a16="http://schemas.microsoft.com/office/drawing/2014/main" id="{79D796F4-F8EF-A9A4-DAD2-982900FF5279}"/>
              </a:ext>
            </a:extLst>
          </p:cNvPr>
          <p:cNvSpPr/>
          <p:nvPr/>
        </p:nvSpPr>
        <p:spPr bwMode="auto">
          <a:xfrm>
            <a:off x="8347365" y="4384148"/>
            <a:ext cx="929999" cy="1325563"/>
          </a:xfrm>
          <a:prstGeom prst="up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a:latin typeface="Arial" charset="0"/>
              <a:cs typeface="Arial" charset="0"/>
            </a:endParaRPr>
          </a:p>
        </p:txBody>
      </p:sp>
      <p:sp>
        <p:nvSpPr>
          <p:cNvPr id="7" name="TextBox 6">
            <a:extLst>
              <a:ext uri="{FF2B5EF4-FFF2-40B4-BE49-F238E27FC236}">
                <a16:creationId xmlns:a16="http://schemas.microsoft.com/office/drawing/2014/main" id="{C64F7E87-FFA4-4015-FC5E-F6CBD888F2AD}"/>
              </a:ext>
            </a:extLst>
          </p:cNvPr>
          <p:cNvSpPr txBox="1"/>
          <p:nvPr/>
        </p:nvSpPr>
        <p:spPr>
          <a:xfrm>
            <a:off x="913592" y="5846544"/>
            <a:ext cx="613153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latin typeface="Arial"/>
                <a:cs typeface="Arial"/>
              </a:rPr>
              <a:t>ORCID eliminates name ambiguity!</a:t>
            </a:r>
            <a:endParaRPr lang="en-US" sz="2400" dirty="0"/>
          </a:p>
          <a:p>
            <a:r>
              <a:rPr lang="en-US" sz="1200" dirty="0">
                <a:latin typeface="Arial"/>
                <a:cs typeface="Arial"/>
                <a:hlinkClick r:id="rId4"/>
              </a:rPr>
              <a:t>https://www-scopus-com.ucc.idm.oclc.org/authid/detail.uri?authorId=6602488702</a:t>
            </a:r>
            <a:endParaRPr lang="en-US" sz="1200" dirty="0">
              <a:latin typeface="Arial"/>
              <a:cs typeface="Arial"/>
            </a:endParaRPr>
          </a:p>
        </p:txBody>
      </p:sp>
    </p:spTree>
    <p:extLst>
      <p:ext uri="{BB962C8B-B14F-4D97-AF65-F5344CB8AC3E}">
        <p14:creationId xmlns:p14="http://schemas.microsoft.com/office/powerpoint/2010/main" val="29429120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F1F3C-1DD9-A6C9-56FA-533EFBF03182}"/>
              </a:ext>
            </a:extLst>
          </p:cNvPr>
          <p:cNvSpPr>
            <a:spLocks noGrp="1"/>
          </p:cNvSpPr>
          <p:nvPr>
            <p:ph type="title"/>
          </p:nvPr>
        </p:nvSpPr>
        <p:spPr>
          <a:solidFill>
            <a:srgbClr val="F59905"/>
          </a:solidFill>
        </p:spPr>
        <p:txBody>
          <a:bodyPr/>
          <a:lstStyle/>
          <a:p>
            <a:r>
              <a:rPr lang="en-IE" b="1" dirty="0"/>
              <a:t>Publish your research - licence options:</a:t>
            </a:r>
            <a:endParaRPr lang="en-IE" b="1" dirty="0">
              <a:cs typeface="Calibri Light"/>
            </a:endParaRPr>
          </a:p>
        </p:txBody>
      </p:sp>
      <p:sp>
        <p:nvSpPr>
          <p:cNvPr id="3" name="Content Placeholder 2">
            <a:extLst>
              <a:ext uri="{FF2B5EF4-FFF2-40B4-BE49-F238E27FC236}">
                <a16:creationId xmlns:a16="http://schemas.microsoft.com/office/drawing/2014/main" id="{0A726296-B582-A35A-1553-B29E4C59B8C1}"/>
              </a:ext>
            </a:extLst>
          </p:cNvPr>
          <p:cNvSpPr>
            <a:spLocks noGrp="1"/>
          </p:cNvSpPr>
          <p:nvPr>
            <p:ph idx="1"/>
          </p:nvPr>
        </p:nvSpPr>
        <p:spPr/>
        <p:txBody>
          <a:bodyPr/>
          <a:lstStyle/>
          <a:p>
            <a:r>
              <a:rPr lang="en-IE" sz="3200" b="1" dirty="0"/>
              <a:t>Licence Options - Codes/Licence Name</a:t>
            </a:r>
            <a:endParaRPr lang="en-IE" sz="3200" dirty="0">
              <a:latin typeface="+mn-lt"/>
              <a:ea typeface="+mn-lt"/>
              <a:cs typeface="+mn-lt"/>
            </a:endParaRPr>
          </a:p>
          <a:p>
            <a:pPr marL="0" indent="0">
              <a:buNone/>
            </a:pPr>
            <a:endParaRPr lang="en-IE" dirty="0"/>
          </a:p>
          <a:p>
            <a:pPr marL="0" indent="0">
              <a:buNone/>
            </a:pPr>
            <a:r>
              <a:rPr lang="en-IE" sz="2800" b="0" i="0" dirty="0">
                <a:effectLst/>
                <a:latin typeface="Arial" panose="020B0604020202020204" pitchFamily="34" charset="0"/>
              </a:rPr>
              <a:t>CC 			Zero Public Domain </a:t>
            </a:r>
            <a:br>
              <a:rPr lang="en-IE" sz="2800" dirty="0"/>
            </a:br>
            <a:r>
              <a:rPr lang="en-IE" sz="2800" b="0" i="0" dirty="0">
                <a:effectLst/>
                <a:latin typeface="Arial" panose="020B0604020202020204" pitchFamily="34" charset="0"/>
              </a:rPr>
              <a:t>CC BY 		Attribution </a:t>
            </a:r>
            <a:br>
              <a:rPr lang="en-IE" sz="2800" dirty="0"/>
            </a:br>
            <a:r>
              <a:rPr lang="en-IE" sz="2800" b="0" i="0" dirty="0">
                <a:effectLst/>
                <a:latin typeface="Arial" panose="020B0604020202020204" pitchFamily="34" charset="0"/>
              </a:rPr>
              <a:t>CC BY-SA 		Attribution - Share Alike</a:t>
            </a:r>
            <a:br>
              <a:rPr lang="en-IE" sz="2800" dirty="0"/>
            </a:br>
            <a:r>
              <a:rPr lang="en-IE" sz="2800" b="0" i="0" dirty="0">
                <a:effectLst/>
                <a:latin typeface="Arial" panose="020B0604020202020204" pitchFamily="34" charset="0"/>
              </a:rPr>
              <a:t>CC BY-NC 		Attribution - Non Commercial</a:t>
            </a:r>
            <a:br>
              <a:rPr lang="en-IE" sz="2800" dirty="0"/>
            </a:br>
            <a:r>
              <a:rPr lang="en-IE" sz="2800" b="0" i="0" dirty="0">
                <a:effectLst/>
                <a:latin typeface="Arial" panose="020B0604020202020204" pitchFamily="34" charset="0"/>
              </a:rPr>
              <a:t>CC BY-NC-SA 	Attribution - Non Commercial - Share Alike</a:t>
            </a:r>
            <a:br>
              <a:rPr lang="en-IE" sz="2800" dirty="0"/>
            </a:br>
            <a:r>
              <a:rPr lang="en-IE" sz="2800" b="0" i="0" dirty="0">
                <a:effectLst/>
                <a:latin typeface="Arial" panose="020B0604020202020204" pitchFamily="34" charset="0"/>
              </a:rPr>
              <a:t>CC BY-ND 		Attribution - No Derivatives</a:t>
            </a:r>
            <a:br>
              <a:rPr lang="en-IE" sz="2800" dirty="0"/>
            </a:br>
            <a:r>
              <a:rPr lang="en-IE" sz="2800" b="0" i="0" dirty="0">
                <a:effectLst/>
                <a:latin typeface="Arial" panose="020B0604020202020204" pitchFamily="34" charset="0"/>
              </a:rPr>
              <a:t>CC BY-NC-ND 	Attribution - Non Commercial - No Derivatives</a:t>
            </a:r>
            <a:br>
              <a:rPr lang="en-IE" sz="2800" dirty="0"/>
            </a:br>
            <a:endParaRPr lang="en-IE" sz="2800" dirty="0">
              <a:ea typeface="+mn-lt"/>
              <a:cs typeface="+mn-lt"/>
            </a:endParaRPr>
          </a:p>
          <a:p>
            <a:pPr marL="0" indent="0">
              <a:buNone/>
            </a:pPr>
            <a:endParaRPr lang="en-IE" dirty="0"/>
          </a:p>
        </p:txBody>
      </p:sp>
    </p:spTree>
    <p:extLst>
      <p:ext uri="{BB962C8B-B14F-4D97-AF65-F5344CB8AC3E}">
        <p14:creationId xmlns:p14="http://schemas.microsoft.com/office/powerpoint/2010/main" val="2172075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B6843F-DE1E-49E7-9A6C-8C46925ABFD6}"/>
              </a:ext>
            </a:extLst>
          </p:cNvPr>
          <p:cNvSpPr>
            <a:spLocks noGrp="1"/>
          </p:cNvSpPr>
          <p:nvPr>
            <p:ph type="title"/>
          </p:nvPr>
        </p:nvSpPr>
        <p:spPr>
          <a:xfrm>
            <a:off x="481013" y="3752849"/>
            <a:ext cx="3290887" cy="2452687"/>
          </a:xfrm>
        </p:spPr>
        <p:txBody>
          <a:bodyPr anchor="ctr">
            <a:normAutofit/>
          </a:bodyPr>
          <a:lstStyle/>
          <a:p>
            <a:r>
              <a:rPr lang="en-IE" b="1">
                <a:latin typeface="Calibri"/>
                <a:ea typeface="+mn-ea"/>
                <a:cs typeface="+mn-cs"/>
              </a:rPr>
              <a:t>Gold Open Access</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44464" b="9770"/>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28" name="Content Placeholder 7">
            <a:extLst>
              <a:ext uri="{FF2B5EF4-FFF2-40B4-BE49-F238E27FC236}">
                <a16:creationId xmlns:a16="http://schemas.microsoft.com/office/drawing/2014/main" id="{9D8DDAE3-DE89-4952-8290-5EFD62413E49}"/>
              </a:ext>
            </a:extLst>
          </p:cNvPr>
          <p:cNvSpPr>
            <a:spLocks noGrp="1"/>
          </p:cNvSpPr>
          <p:nvPr>
            <p:ph idx="1"/>
          </p:nvPr>
        </p:nvSpPr>
        <p:spPr>
          <a:xfrm>
            <a:off x="4225574" y="4044398"/>
            <a:ext cx="7485413" cy="2452687"/>
          </a:xfrm>
        </p:spPr>
        <p:txBody>
          <a:bodyPr anchor="ctr">
            <a:normAutofit/>
          </a:bodyPr>
          <a:lstStyle/>
          <a:p>
            <a:r>
              <a:rPr lang="en-US" sz="2000"/>
              <a:t>Accessible immediately at the point of publication</a:t>
            </a:r>
            <a:endParaRPr lang="en-US" sz="2000" b="1"/>
          </a:p>
          <a:p>
            <a:r>
              <a:rPr lang="en-US" sz="2000"/>
              <a:t>Author may have to pay article processing charges (APCs) once an article has been accepted for publication</a:t>
            </a:r>
          </a:p>
          <a:p>
            <a:r>
              <a:rPr lang="en-US" sz="2000"/>
              <a:t>Author retains copyright and readers are granted reuse rights</a:t>
            </a:r>
          </a:p>
          <a:p>
            <a:r>
              <a:rPr lang="en-US" sz="2000"/>
              <a:t>Publisher managed</a:t>
            </a:r>
          </a:p>
          <a:p>
            <a:pPr marL="0" indent="0">
              <a:buNone/>
            </a:pPr>
            <a:endParaRPr lang="en-IE" sz="1800"/>
          </a:p>
        </p:txBody>
      </p:sp>
    </p:spTree>
    <p:extLst>
      <p:ext uri="{BB962C8B-B14F-4D97-AF65-F5344CB8AC3E}">
        <p14:creationId xmlns:p14="http://schemas.microsoft.com/office/powerpoint/2010/main" val="3997693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9" name="TextBox 8">
            <a:extLst>
              <a:ext uri="{FF2B5EF4-FFF2-40B4-BE49-F238E27FC236}">
                <a16:creationId xmlns:a16="http://schemas.microsoft.com/office/drawing/2014/main" id="{837CAF16-82F5-4762-AC48-A99AF7A9B1BF}"/>
              </a:ext>
            </a:extLst>
          </p:cNvPr>
          <p:cNvSpPr txBox="1"/>
          <p:nvPr/>
        </p:nvSpPr>
        <p:spPr>
          <a:xfrm>
            <a:off x="791082" y="151002"/>
            <a:ext cx="9376375" cy="1200329"/>
          </a:xfrm>
          <a:prstGeom prst="rect">
            <a:avLst/>
          </a:prstGeom>
          <a:noFill/>
        </p:spPr>
        <p:txBody>
          <a:bodyPr wrap="square" rtlCol="0">
            <a:spAutoFit/>
          </a:bodyPr>
          <a:lstStyle/>
          <a:p>
            <a:r>
              <a:rPr lang="en-IE" sz="3600" b="1" dirty="0">
                <a:solidFill>
                  <a:srgbClr val="008000"/>
                </a:solidFill>
                <a:latin typeface="Calibri"/>
              </a:rPr>
              <a:t> </a:t>
            </a:r>
            <a:r>
              <a:rPr lang="en-IE" sz="3600" b="1" dirty="0" err="1">
                <a:solidFill>
                  <a:srgbClr val="008000"/>
                </a:solidFill>
                <a:latin typeface="Calibri"/>
              </a:rPr>
              <a:t>IReL</a:t>
            </a:r>
            <a:r>
              <a:rPr lang="en-IE" sz="3600" b="1" dirty="0">
                <a:solidFill>
                  <a:srgbClr val="008000"/>
                </a:solidFill>
                <a:latin typeface="Calibri"/>
              </a:rPr>
              <a:t> Transformative Agreements – </a:t>
            </a:r>
          </a:p>
          <a:p>
            <a:r>
              <a:rPr lang="en-IE" sz="3600" b="1" dirty="0">
                <a:solidFill>
                  <a:srgbClr val="008000"/>
                </a:solidFill>
                <a:latin typeface="Calibri"/>
              </a:rPr>
              <a:t>funding Open Access publishing for UCC authors</a:t>
            </a:r>
          </a:p>
        </p:txBody>
      </p:sp>
      <p:sp>
        <p:nvSpPr>
          <p:cNvPr id="2" name="TextBox 1">
            <a:extLst>
              <a:ext uri="{FF2B5EF4-FFF2-40B4-BE49-F238E27FC236}">
                <a16:creationId xmlns:a16="http://schemas.microsoft.com/office/drawing/2014/main" id="{96F3FCD0-E5D4-4DF2-BF6D-58676255AE62}"/>
              </a:ext>
            </a:extLst>
          </p:cNvPr>
          <p:cNvSpPr txBox="1"/>
          <p:nvPr/>
        </p:nvSpPr>
        <p:spPr>
          <a:xfrm>
            <a:off x="222822" y="1564243"/>
            <a:ext cx="11746355" cy="5293757"/>
          </a:xfrm>
          <a:prstGeom prst="rect">
            <a:avLst/>
          </a:prstGeom>
          <a:noFill/>
        </p:spPr>
        <p:txBody>
          <a:bodyPr wrap="square" lIns="91440" tIns="45720" rIns="91440" bIns="45720" rtlCol="0" anchor="t">
            <a:spAutoFit/>
          </a:bodyPr>
          <a:lstStyle/>
          <a:p>
            <a:pPr marL="742950" lvl="1" indent="-285750">
              <a:buFont typeface="Arial" panose="020B0604020202020204" pitchFamily="34" charset="0"/>
              <a:buChar char="•"/>
            </a:pPr>
            <a:r>
              <a:rPr lang="en-IE" sz="2000" dirty="0"/>
              <a:t>UCC, via </a:t>
            </a:r>
            <a:r>
              <a:rPr lang="en-IE" sz="2000" dirty="0" err="1"/>
              <a:t>IReL</a:t>
            </a:r>
            <a:r>
              <a:rPr lang="en-IE" sz="2000" dirty="0"/>
              <a:t> have secured several 'Transformative Agreements' with publishers that typically allow corresponding authors from eligible institutions to publish their articles open access immediately on publication.  These Article Publishing Charges (APCs) have been prepaid for a large number of articles with a wide range of publishers.</a:t>
            </a:r>
          </a:p>
          <a:p>
            <a:pPr marL="742950" lvl="1" indent="-285750">
              <a:buFont typeface="Arial" panose="020B0604020202020204" pitchFamily="34" charset="0"/>
              <a:buChar char="•"/>
            </a:pPr>
            <a:endParaRPr lang="en-IE" sz="2000" dirty="0">
              <a:solidFill>
                <a:prstClr val="black"/>
              </a:solidFill>
            </a:endParaRPr>
          </a:p>
          <a:p>
            <a:pPr marL="742950" lvl="1" indent="-285750">
              <a:buFont typeface="Arial" panose="020B0604020202020204" pitchFamily="34" charset="0"/>
              <a:buChar char="•"/>
            </a:pPr>
            <a:r>
              <a:rPr lang="en-IE" sz="2000" dirty="0"/>
              <a:t>To confirm if your proposed journal is eligible for a funded APC please check the link below:   </a:t>
            </a:r>
            <a:r>
              <a:rPr lang="en-IE" sz="2000" dirty="0">
                <a:hlinkClick r:id="rId3"/>
              </a:rPr>
              <a:t>https://libguides.ucc.ie/OAagreements</a:t>
            </a:r>
            <a:r>
              <a:rPr lang="en-IE" sz="2000" dirty="0"/>
              <a:t> or email </a:t>
            </a:r>
            <a:r>
              <a:rPr lang="en-IE" sz="2000" dirty="0">
                <a:hlinkClick r:id="rId4"/>
              </a:rPr>
              <a:t>libraryapcs@ucc.ie</a:t>
            </a:r>
            <a:r>
              <a:rPr lang="en-IE" sz="2000" dirty="0"/>
              <a:t>.</a:t>
            </a:r>
            <a:endParaRPr lang="en-IE" sz="2000" dirty="0">
              <a:cs typeface="Calibri"/>
            </a:endParaRPr>
          </a:p>
          <a:p>
            <a:pPr lvl="1"/>
            <a:endParaRPr lang="en-IE" sz="2000" dirty="0">
              <a:solidFill>
                <a:prstClr val="black"/>
              </a:solidFill>
            </a:endParaRPr>
          </a:p>
          <a:p>
            <a:pPr marL="742950" lvl="1" indent="-285750">
              <a:buFont typeface="Arial" panose="020B0604020202020204" pitchFamily="34" charset="0"/>
              <a:buChar char="•"/>
            </a:pPr>
            <a:r>
              <a:rPr lang="en-IE" sz="2000" b="1" dirty="0"/>
              <a:t>To avail of funded APCs </a:t>
            </a:r>
            <a:r>
              <a:rPr lang="en-IE" sz="2000" b="1" dirty="0">
                <a:highlight>
                  <a:srgbClr val="FFFF00"/>
                </a:highlight>
              </a:rPr>
              <a:t>UCC authors </a:t>
            </a:r>
            <a:r>
              <a:rPr lang="en-IE" sz="2000" b="1" dirty="0"/>
              <a:t>must meet the following criteria, when their article is accepted for publication:   </a:t>
            </a:r>
            <a:endParaRPr lang="en-IE" sz="2000" dirty="0"/>
          </a:p>
          <a:p>
            <a:pPr marL="742950" lvl="1" indent="-285750">
              <a:buFont typeface="Arial" panose="020B0604020202020204" pitchFamily="34" charset="0"/>
              <a:buChar char="•"/>
            </a:pPr>
            <a:endParaRPr lang="en-IE" sz="2000" dirty="0"/>
          </a:p>
          <a:p>
            <a:pPr marL="1200150" lvl="2" indent="-285750">
              <a:buFont typeface="Arial"/>
              <a:buChar char="•"/>
            </a:pPr>
            <a:r>
              <a:rPr lang="en-IE" sz="2000" dirty="0"/>
              <a:t>You must be listed as the </a:t>
            </a:r>
            <a:r>
              <a:rPr lang="en-IE" sz="2000" dirty="0">
                <a:highlight>
                  <a:srgbClr val="FFFF00"/>
                </a:highlight>
              </a:rPr>
              <a:t>corresponding author</a:t>
            </a:r>
            <a:r>
              <a:rPr lang="en-IE" sz="2000" dirty="0"/>
              <a:t>.</a:t>
            </a:r>
            <a:endParaRPr lang="en-IE" sz="2000" dirty="0">
              <a:cs typeface="Calibri"/>
            </a:endParaRPr>
          </a:p>
          <a:p>
            <a:pPr marL="1200150" lvl="2" indent="-285750">
              <a:buFont typeface="Arial" panose="020B0604020202020204" pitchFamily="34" charset="0"/>
              <a:buChar char="•"/>
            </a:pPr>
            <a:r>
              <a:rPr lang="en-IE" sz="2000" dirty="0"/>
              <a:t>You must include ‘</a:t>
            </a:r>
            <a:r>
              <a:rPr lang="en-IE" sz="2000" dirty="0">
                <a:highlight>
                  <a:srgbClr val="FFFF00"/>
                </a:highlight>
              </a:rPr>
              <a:t>University College Cork</a:t>
            </a:r>
            <a:r>
              <a:rPr lang="en-IE" sz="2000" dirty="0"/>
              <a:t>’ in your affiliation details.</a:t>
            </a:r>
            <a:endParaRPr lang="en-IE" sz="2000" dirty="0">
              <a:cs typeface="Calibri"/>
            </a:endParaRPr>
          </a:p>
          <a:p>
            <a:pPr marL="1200150" lvl="2" indent="-285750">
              <a:buFont typeface="Arial" panose="020B0604020202020204" pitchFamily="34" charset="0"/>
              <a:buChar char="•"/>
            </a:pPr>
            <a:r>
              <a:rPr lang="en-IE" sz="2000" dirty="0"/>
              <a:t>You should use your UCC email address: </a:t>
            </a:r>
            <a:r>
              <a:rPr lang="en-IE" sz="2000" dirty="0">
                <a:highlight>
                  <a:srgbClr val="FFFF00"/>
                </a:highlight>
              </a:rPr>
              <a:t>@ucc.ie</a:t>
            </a:r>
            <a:r>
              <a:rPr lang="en-IE" sz="2000" dirty="0"/>
              <a:t> , </a:t>
            </a:r>
            <a:r>
              <a:rPr lang="en-IE" sz="2000" dirty="0">
                <a:highlight>
                  <a:srgbClr val="FFFF00"/>
                </a:highlight>
              </a:rPr>
              <a:t>@tyndall.ie.</a:t>
            </a:r>
            <a:endParaRPr lang="en-IE" sz="2000" dirty="0">
              <a:highlight>
                <a:srgbClr val="FFFF00"/>
              </a:highlight>
              <a:cs typeface="Calibri"/>
            </a:endParaRPr>
          </a:p>
          <a:p>
            <a:pPr lvl="1"/>
            <a:endParaRPr lang="en-IE" sz="2000" dirty="0">
              <a:solidFill>
                <a:prstClr val="black"/>
              </a:solidFill>
            </a:endParaRPr>
          </a:p>
          <a:p>
            <a:r>
              <a:rPr lang="en-IE" sz="2000" dirty="0"/>
              <a:t>See:  </a:t>
            </a:r>
            <a:r>
              <a:rPr lang="en-IE" sz="2000" dirty="0">
                <a:hlinkClick r:id="rId3"/>
              </a:rPr>
              <a:t>https://libguides.ucc.ie/OAagreements</a:t>
            </a:r>
            <a:r>
              <a:rPr lang="en-IE" sz="2000" dirty="0"/>
              <a:t> </a:t>
            </a:r>
            <a:endParaRPr lang="en-IE" sz="2000" dirty="0">
              <a:cs typeface="Calibri"/>
            </a:endParaRPr>
          </a:p>
          <a:p>
            <a:endParaRPr lang="en-IE" dirty="0">
              <a:solidFill>
                <a:prstClr val="black"/>
              </a:solidFill>
              <a:latin typeface="Calibri"/>
            </a:endParaRPr>
          </a:p>
        </p:txBody>
      </p:sp>
      <p:pic>
        <p:nvPicPr>
          <p:cNvPr id="4" name="Picture 2" descr="IReL Logo">
            <a:extLst>
              <a:ext uri="{FF2B5EF4-FFF2-40B4-BE49-F238E27FC236}">
                <a16:creationId xmlns:a16="http://schemas.microsoft.com/office/drawing/2014/main" id="{1DBE69DC-38BB-47D1-965E-818671C3D88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1717" y="216962"/>
            <a:ext cx="1253312" cy="6206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8839A19-B73B-4061-8738-EE95AAEE5B40}"/>
              </a:ext>
            </a:extLst>
          </p:cNvPr>
          <p:cNvPicPr>
            <a:picLocks noChangeAspect="1"/>
          </p:cNvPicPr>
          <p:nvPr/>
        </p:nvPicPr>
        <p:blipFill>
          <a:blip r:embed="rId6"/>
          <a:stretch>
            <a:fillRect/>
          </a:stretch>
        </p:blipFill>
        <p:spPr>
          <a:xfrm>
            <a:off x="9537135" y="5563453"/>
            <a:ext cx="1989163" cy="551739"/>
          </a:xfrm>
          <a:prstGeom prst="rect">
            <a:avLst/>
          </a:prstGeom>
        </p:spPr>
      </p:pic>
    </p:spTree>
    <p:extLst>
      <p:ext uri="{BB962C8B-B14F-4D97-AF65-F5344CB8AC3E}">
        <p14:creationId xmlns:p14="http://schemas.microsoft.com/office/powerpoint/2010/main" val="14854359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9">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11">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24C012-9FDC-2D81-9E91-7B2DC3E8817D}"/>
              </a:ext>
            </a:extLst>
          </p:cNvPr>
          <p:cNvSpPr>
            <a:spLocks noGrp="1"/>
          </p:cNvSpPr>
          <p:nvPr>
            <p:ph type="title"/>
          </p:nvPr>
        </p:nvSpPr>
        <p:spPr>
          <a:xfrm>
            <a:off x="686834" y="1153572"/>
            <a:ext cx="3200400" cy="4461163"/>
          </a:xfrm>
        </p:spPr>
        <p:txBody>
          <a:bodyPr vert="horz" lIns="91440" tIns="45720" rIns="91440" bIns="45720" rtlCol="0" anchor="ctr">
            <a:normAutofit/>
          </a:bodyPr>
          <a:lstStyle/>
          <a:p>
            <a:r>
              <a:rPr lang="en-US" sz="3700" b="1" dirty="0">
                <a:solidFill>
                  <a:srgbClr val="FFFFFF"/>
                </a:solidFill>
              </a:rPr>
              <a:t>2023 </a:t>
            </a:r>
            <a:r>
              <a:rPr lang="en-US" sz="3700" b="1" kern="1200" dirty="0" err="1">
                <a:solidFill>
                  <a:srgbClr val="FFFFFF"/>
                </a:solidFill>
                <a:latin typeface="+mj-lt"/>
                <a:ea typeface="+mj-ea"/>
                <a:cs typeface="+mj-cs"/>
              </a:rPr>
              <a:t>IReL</a:t>
            </a:r>
            <a:r>
              <a:rPr lang="en-US" sz="3700" b="1" kern="1200" dirty="0">
                <a:solidFill>
                  <a:srgbClr val="FFFFFF"/>
                </a:solidFill>
                <a:latin typeface="+mj-lt"/>
                <a:ea typeface="+mj-ea"/>
                <a:cs typeface="+mj-cs"/>
              </a:rPr>
              <a:t> Transformative agreements with publishers:</a:t>
            </a:r>
          </a:p>
        </p:txBody>
      </p:sp>
      <p:sp>
        <p:nvSpPr>
          <p:cNvPr id="14" name="Arc 13">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 name="TextBox 4">
            <a:extLst>
              <a:ext uri="{FF2B5EF4-FFF2-40B4-BE49-F238E27FC236}">
                <a16:creationId xmlns:a16="http://schemas.microsoft.com/office/drawing/2014/main" id="{9F3D7E12-B2C6-279F-EB69-AC51E43D31F6}"/>
              </a:ext>
            </a:extLst>
          </p:cNvPr>
          <p:cNvSpPr txBox="1"/>
          <p:nvPr/>
        </p:nvSpPr>
        <p:spPr>
          <a:xfrm>
            <a:off x="4124105" y="953293"/>
            <a:ext cx="3900625" cy="5585619"/>
          </a:xfrm>
          <a:prstGeom prst="rect">
            <a:avLst/>
          </a:prstGeom>
        </p:spPr>
        <p:txBody>
          <a:bodyPr vert="horz" lIns="91440" tIns="45720" rIns="91440" bIns="45720" rtlCol="0" anchor="ctr">
            <a:normAutofit/>
          </a:bodyPr>
          <a:lstStyle/>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Association of Computer Machinery (ACM) </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American Chemical Society (ACS)</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American Institute of Physics (AIP)</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American Psychological Association (APA)	</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Annual Reviews	</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BMJ Journals</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Cambridge University Press </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Company of Biologists</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Electrochemical Society</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Elsevier (Science Direct)</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Emerald	</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IEEE     	</a:t>
            </a:r>
          </a:p>
          <a:p>
            <a:pPr marL="4572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rPr>
              <a:t>Institute of Physics (IOP) 			</a:t>
            </a:r>
          </a:p>
        </p:txBody>
      </p:sp>
      <p:sp>
        <p:nvSpPr>
          <p:cNvPr id="3" name="TextBox 2">
            <a:extLst>
              <a:ext uri="{FF2B5EF4-FFF2-40B4-BE49-F238E27FC236}">
                <a16:creationId xmlns:a16="http://schemas.microsoft.com/office/drawing/2014/main" id="{5540BEC7-785B-8F76-612F-635CAC7191C7}"/>
              </a:ext>
            </a:extLst>
          </p:cNvPr>
          <p:cNvSpPr txBox="1"/>
          <p:nvPr/>
        </p:nvSpPr>
        <p:spPr>
          <a:xfrm>
            <a:off x="8288329" y="1294350"/>
            <a:ext cx="3469779" cy="4179606"/>
          </a:xfrm>
          <a:prstGeom prst="rect">
            <a:avLst/>
          </a:prstGeom>
          <a:noFill/>
        </p:spPr>
        <p:txBody>
          <a:bodyPr wrap="square" rtlCol="0">
            <a:spAutoFit/>
          </a:bodyPr>
          <a:lstStyle/>
          <a:p>
            <a:pPr marL="457200" indent="-228600">
              <a:lnSpc>
                <a:spcPct val="90000"/>
              </a:lnSpc>
              <a:spcAft>
                <a:spcPts val="600"/>
              </a:spcAft>
              <a:buFont typeface="Arial" panose="020B0604020202020204" pitchFamily="34" charset="0"/>
              <a:buChar char="•"/>
              <a:defRPr/>
            </a:pPr>
            <a:r>
              <a:rPr lang="en-IE" dirty="0"/>
              <a:t>Microbiology Society </a:t>
            </a:r>
          </a:p>
          <a:p>
            <a:pPr marL="457200" indent="-228600">
              <a:lnSpc>
                <a:spcPct val="90000"/>
              </a:lnSpc>
              <a:spcAft>
                <a:spcPts val="600"/>
              </a:spcAft>
              <a:buFont typeface="Arial" panose="020B0604020202020204" pitchFamily="34" charset="0"/>
              <a:buChar char="•"/>
              <a:defRPr/>
            </a:pPr>
            <a:r>
              <a:rPr lang="en-IE" dirty="0"/>
              <a:t>Optica Publishing Group</a:t>
            </a:r>
          </a:p>
          <a:p>
            <a:pPr marL="457200" indent="-228600">
              <a:lnSpc>
                <a:spcPct val="90000"/>
              </a:lnSpc>
              <a:spcAft>
                <a:spcPts val="600"/>
              </a:spcAft>
              <a:buFont typeface="Arial" panose="020B0604020202020204" pitchFamily="34" charset="0"/>
              <a:buChar char="•"/>
              <a:defRPr/>
            </a:pPr>
            <a:r>
              <a:rPr lang="en-IE" dirty="0"/>
              <a:t>Oxford University Press</a:t>
            </a:r>
          </a:p>
          <a:p>
            <a:pPr marL="457200" indent="-228600">
              <a:lnSpc>
                <a:spcPct val="90000"/>
              </a:lnSpc>
              <a:spcAft>
                <a:spcPts val="600"/>
              </a:spcAft>
              <a:buFont typeface="Arial" panose="020B0604020202020204" pitchFamily="34" charset="0"/>
              <a:buChar char="•"/>
              <a:defRPr/>
            </a:pPr>
            <a:r>
              <a:rPr lang="en-IE" dirty="0"/>
              <a:t>PLOS Public Library of Science</a:t>
            </a:r>
          </a:p>
          <a:p>
            <a:pPr marL="457200" indent="-228600">
              <a:lnSpc>
                <a:spcPct val="90000"/>
              </a:lnSpc>
              <a:spcAft>
                <a:spcPts val="600"/>
              </a:spcAft>
              <a:buFont typeface="Arial" panose="020B0604020202020204" pitchFamily="34" charset="0"/>
              <a:buChar char="•"/>
              <a:defRPr/>
            </a:pPr>
            <a:r>
              <a:rPr lang="en-IE" dirty="0"/>
              <a:t>Rockefeller University Press </a:t>
            </a:r>
          </a:p>
          <a:p>
            <a:pPr marL="457200" indent="-228600">
              <a:lnSpc>
                <a:spcPct val="90000"/>
              </a:lnSpc>
              <a:spcAft>
                <a:spcPts val="600"/>
              </a:spcAft>
              <a:buFont typeface="Arial" panose="020B0604020202020204" pitchFamily="34" charset="0"/>
              <a:buChar char="•"/>
              <a:defRPr/>
            </a:pPr>
            <a:r>
              <a:rPr lang="en-IE" dirty="0"/>
              <a:t>Royal Irish Academy </a:t>
            </a:r>
          </a:p>
          <a:p>
            <a:pPr marL="457200" indent="-228600">
              <a:lnSpc>
                <a:spcPct val="90000"/>
              </a:lnSpc>
              <a:spcAft>
                <a:spcPts val="600"/>
              </a:spcAft>
              <a:buFont typeface="Arial" panose="020B0604020202020204" pitchFamily="34" charset="0"/>
              <a:buChar char="•"/>
              <a:defRPr/>
            </a:pPr>
            <a:r>
              <a:rPr lang="en-IE" dirty="0"/>
              <a:t>The Royal Society</a:t>
            </a:r>
          </a:p>
          <a:p>
            <a:pPr marL="457200" indent="-228600">
              <a:lnSpc>
                <a:spcPct val="90000"/>
              </a:lnSpc>
              <a:spcAft>
                <a:spcPts val="600"/>
              </a:spcAft>
              <a:buFont typeface="Arial" panose="020B0604020202020204" pitchFamily="34" charset="0"/>
              <a:buChar char="•"/>
              <a:defRPr/>
            </a:pPr>
            <a:r>
              <a:rPr lang="en-IE" dirty="0"/>
              <a:t>The Royal Society of Chemistry </a:t>
            </a:r>
          </a:p>
          <a:p>
            <a:pPr marL="457200" indent="-228600">
              <a:lnSpc>
                <a:spcPct val="90000"/>
              </a:lnSpc>
              <a:spcAft>
                <a:spcPts val="600"/>
              </a:spcAft>
              <a:buFont typeface="Arial" panose="020B0604020202020204" pitchFamily="34" charset="0"/>
              <a:buChar char="•"/>
              <a:defRPr/>
            </a:pPr>
            <a:r>
              <a:rPr lang="en-IE" dirty="0"/>
              <a:t>Sage	</a:t>
            </a:r>
          </a:p>
          <a:p>
            <a:pPr marL="457200" indent="-228600">
              <a:lnSpc>
                <a:spcPct val="90000"/>
              </a:lnSpc>
              <a:spcAft>
                <a:spcPts val="600"/>
              </a:spcAft>
              <a:buFont typeface="Arial" panose="020B0604020202020204" pitchFamily="34" charset="0"/>
              <a:buChar char="•"/>
              <a:defRPr/>
            </a:pPr>
            <a:r>
              <a:rPr lang="en-IE" dirty="0"/>
              <a:t>Springer	</a:t>
            </a:r>
          </a:p>
          <a:p>
            <a:pPr marL="457200" indent="-228600">
              <a:lnSpc>
                <a:spcPct val="90000"/>
              </a:lnSpc>
              <a:spcAft>
                <a:spcPts val="600"/>
              </a:spcAft>
              <a:buFont typeface="Arial" panose="020B0604020202020204" pitchFamily="34" charset="0"/>
              <a:buChar char="•"/>
              <a:defRPr/>
            </a:pPr>
            <a:r>
              <a:rPr lang="en-IE" dirty="0"/>
              <a:t>Taylor &amp; Francis</a:t>
            </a:r>
          </a:p>
          <a:p>
            <a:pPr marL="457200" indent="-228600">
              <a:lnSpc>
                <a:spcPct val="90000"/>
              </a:lnSpc>
              <a:spcAft>
                <a:spcPts val="600"/>
              </a:spcAft>
              <a:buFont typeface="Arial" panose="020B0604020202020204" pitchFamily="34" charset="0"/>
              <a:buChar char="•"/>
              <a:defRPr/>
            </a:pPr>
            <a:r>
              <a:rPr lang="en-IE" dirty="0"/>
              <a:t>Wiley</a:t>
            </a:r>
          </a:p>
        </p:txBody>
      </p:sp>
    </p:spTree>
    <p:extLst>
      <p:ext uri="{BB962C8B-B14F-4D97-AF65-F5344CB8AC3E}">
        <p14:creationId xmlns:p14="http://schemas.microsoft.com/office/powerpoint/2010/main" val="6994089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DFC7DD-DCBE-CD89-47A4-399574442C6B}"/>
              </a:ext>
            </a:extLst>
          </p:cNvPr>
          <p:cNvPicPr>
            <a:picLocks noChangeAspect="1"/>
          </p:cNvPicPr>
          <p:nvPr/>
        </p:nvPicPr>
        <p:blipFill rotWithShape="1">
          <a:blip r:embed="rId3"/>
          <a:srcRect b="19"/>
          <a:stretch/>
        </p:blipFill>
        <p:spPr>
          <a:xfrm>
            <a:off x="20" y="1282"/>
            <a:ext cx="12191980" cy="6856718"/>
          </a:xfrm>
          <a:prstGeom prst="rect">
            <a:avLst/>
          </a:prstGeom>
        </p:spPr>
      </p:pic>
    </p:spTree>
    <p:extLst>
      <p:ext uri="{BB962C8B-B14F-4D97-AF65-F5344CB8AC3E}">
        <p14:creationId xmlns:p14="http://schemas.microsoft.com/office/powerpoint/2010/main" val="14821266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2C3A9-F535-9F94-D030-0BFC028E2914}"/>
              </a:ext>
            </a:extLst>
          </p:cNvPr>
          <p:cNvSpPr>
            <a:spLocks noGrp="1"/>
          </p:cNvSpPr>
          <p:nvPr>
            <p:ph type="title"/>
          </p:nvPr>
        </p:nvSpPr>
        <p:spPr>
          <a:xfrm>
            <a:off x="550479" y="121060"/>
            <a:ext cx="3873971" cy="651061"/>
          </a:xfrm>
          <a:solidFill>
            <a:srgbClr val="ED7D31"/>
          </a:solidFill>
        </p:spPr>
        <p:txBody>
          <a:bodyPr>
            <a:normAutofit fontScale="90000"/>
          </a:bodyPr>
          <a:lstStyle/>
          <a:p>
            <a:r>
              <a:rPr lang="en-IE" b="1" dirty="0"/>
              <a:t>For UCC authors</a:t>
            </a:r>
            <a:r>
              <a:rPr lang="en-IE" dirty="0"/>
              <a:t> </a:t>
            </a:r>
          </a:p>
        </p:txBody>
      </p:sp>
      <p:sp>
        <p:nvSpPr>
          <p:cNvPr id="3" name="Content Placeholder 2">
            <a:extLst>
              <a:ext uri="{FF2B5EF4-FFF2-40B4-BE49-F238E27FC236}">
                <a16:creationId xmlns:a16="http://schemas.microsoft.com/office/drawing/2014/main" id="{EB2DEF9D-E8ED-3DB6-2692-34CA01551759}"/>
              </a:ext>
            </a:extLst>
          </p:cNvPr>
          <p:cNvSpPr>
            <a:spLocks noGrp="1"/>
          </p:cNvSpPr>
          <p:nvPr>
            <p:ph idx="1"/>
          </p:nvPr>
        </p:nvSpPr>
        <p:spPr>
          <a:xfrm>
            <a:off x="314349" y="1054155"/>
            <a:ext cx="10608527" cy="2371997"/>
          </a:xfrm>
        </p:spPr>
        <p:txBody>
          <a:bodyPr vert="horz" lIns="91440" tIns="45720" rIns="91440" bIns="45720" rtlCol="0" anchor="t">
            <a:normAutofit/>
          </a:bodyPr>
          <a:lstStyle/>
          <a:p>
            <a:pPr marL="0" indent="0">
              <a:buNone/>
            </a:pPr>
            <a:r>
              <a:rPr lang="en-IE" sz="2000" b="1" dirty="0"/>
              <a:t>On submission:</a:t>
            </a:r>
          </a:p>
          <a:p>
            <a:r>
              <a:rPr lang="en-IE" sz="2000" dirty="0"/>
              <a:t>All UCC authors should ensure ‘University College Cork’ is included in affiliation details</a:t>
            </a:r>
          </a:p>
          <a:p>
            <a:r>
              <a:rPr lang="en-IE" sz="2000" dirty="0"/>
              <a:t>All UCC corresponding authors should use UCC email address: @ucc.ie</a:t>
            </a:r>
          </a:p>
          <a:p>
            <a:r>
              <a:rPr lang="en-IE" sz="2000" dirty="0">
                <a:cs typeface="Calibri"/>
              </a:rPr>
              <a:t>Where applicable, accept publication under Transformative Agreement in submission workflow</a:t>
            </a:r>
            <a:endParaRPr lang="en-IE" sz="2000" dirty="0"/>
          </a:p>
          <a:p>
            <a:r>
              <a:rPr lang="en-IE" sz="2000" dirty="0"/>
              <a:t>SFI/</a:t>
            </a:r>
            <a:r>
              <a:rPr lang="en-IE" sz="2000" dirty="0" err="1"/>
              <a:t>Wellcome</a:t>
            </a:r>
            <a:r>
              <a:rPr lang="en-IE" sz="2000" dirty="0"/>
              <a:t>/</a:t>
            </a:r>
            <a:r>
              <a:rPr lang="en-IE" sz="2000" dirty="0" err="1"/>
              <a:t>PlanS</a:t>
            </a:r>
            <a:r>
              <a:rPr lang="en-IE" sz="2000" dirty="0"/>
              <a:t>-funded authors must include standard text on Rights Retention in the body of the submitted manuscript:</a:t>
            </a:r>
          </a:p>
          <a:p>
            <a:endParaRPr lang="en-IE" dirty="0"/>
          </a:p>
        </p:txBody>
      </p:sp>
      <p:pic>
        <p:nvPicPr>
          <p:cNvPr id="4" name="Picture 3">
            <a:extLst>
              <a:ext uri="{FF2B5EF4-FFF2-40B4-BE49-F238E27FC236}">
                <a16:creationId xmlns:a16="http://schemas.microsoft.com/office/drawing/2014/main" id="{3F171799-656A-17BD-30CC-27C4D5F56210}"/>
              </a:ext>
            </a:extLst>
          </p:cNvPr>
          <p:cNvPicPr>
            <a:picLocks noChangeAspect="1"/>
          </p:cNvPicPr>
          <p:nvPr/>
        </p:nvPicPr>
        <p:blipFill>
          <a:blip r:embed="rId3"/>
          <a:stretch>
            <a:fillRect/>
          </a:stretch>
        </p:blipFill>
        <p:spPr>
          <a:xfrm>
            <a:off x="2489499" y="3243308"/>
            <a:ext cx="8592341" cy="1271613"/>
          </a:xfrm>
          <a:prstGeom prst="rect">
            <a:avLst/>
          </a:prstGeom>
        </p:spPr>
      </p:pic>
      <p:sp>
        <p:nvSpPr>
          <p:cNvPr id="6" name="TextBox 5">
            <a:extLst>
              <a:ext uri="{FF2B5EF4-FFF2-40B4-BE49-F238E27FC236}">
                <a16:creationId xmlns:a16="http://schemas.microsoft.com/office/drawing/2014/main" id="{2AB3377D-AC86-64BE-B23E-FAF69E0D1DF1}"/>
              </a:ext>
            </a:extLst>
          </p:cNvPr>
          <p:cNvSpPr txBox="1"/>
          <p:nvPr/>
        </p:nvSpPr>
        <p:spPr>
          <a:xfrm>
            <a:off x="291859" y="4431452"/>
            <a:ext cx="11616559" cy="1938992"/>
          </a:xfrm>
          <a:prstGeom prst="rect">
            <a:avLst/>
          </a:prstGeom>
          <a:noFill/>
        </p:spPr>
        <p:txBody>
          <a:bodyPr wrap="square" lIns="91440" tIns="45720" rIns="91440" bIns="45720" anchor="t">
            <a:spAutoFit/>
          </a:bodyPr>
          <a:lstStyle/>
          <a:p>
            <a:r>
              <a:rPr lang="en-IE" sz="2000" b="1" dirty="0">
                <a:ea typeface="+mn-lt"/>
                <a:cs typeface="+mn-lt"/>
              </a:rPr>
              <a:t>   On acceptance:</a:t>
            </a:r>
            <a:endParaRPr lang="en-US" dirty="0"/>
          </a:p>
          <a:p>
            <a:pPr marL="228600" lvl="1" indent="-228600">
              <a:lnSpc>
                <a:spcPct val="90000"/>
              </a:lnSpc>
              <a:spcBef>
                <a:spcPts val="1000"/>
              </a:spcBef>
              <a:buFont typeface="Arial" panose="020B0604020202020204" pitchFamily="34" charset="0"/>
              <a:buChar char="•"/>
            </a:pPr>
            <a:r>
              <a:rPr lang="en-IE" sz="2000" dirty="0"/>
              <a:t>UCC authors should continue to send the Author Accepted Manuscript (AAM) to CORA (via IRIS or </a:t>
            </a:r>
            <a:r>
              <a:rPr lang="en-IE" sz="2000" dirty="0">
                <a:hlinkClick r:id="rId4">
                  <a:extLst>
                    <a:ext uri="{A12FA001-AC4F-418D-AE19-62706E023703}">
                      <ahyp:hlinkClr xmlns:ahyp="http://schemas.microsoft.com/office/drawing/2018/hyperlinkcolor" val="tx"/>
                    </a:ext>
                  </a:extLst>
                </a:hlinkClick>
              </a:rPr>
              <a:t>cora@ucc.ie</a:t>
            </a:r>
            <a:r>
              <a:rPr lang="en-IE" sz="2000" dirty="0"/>
              <a:t> </a:t>
            </a:r>
          </a:p>
          <a:p>
            <a:pPr marL="228600" lvl="1" indent="-228600">
              <a:lnSpc>
                <a:spcPct val="90000"/>
              </a:lnSpc>
              <a:spcBef>
                <a:spcPts val="1000"/>
              </a:spcBef>
              <a:buFont typeface="Arial" panose="020B0604020202020204" pitchFamily="34" charset="0"/>
              <a:buChar char="•"/>
            </a:pPr>
            <a:r>
              <a:rPr lang="en-IE" sz="2000" dirty="0"/>
              <a:t>Library staff will approve articles eligible under Transformative Agreements via publisher workflow systems</a:t>
            </a:r>
          </a:p>
          <a:p>
            <a:pPr marL="228600" lvl="1" indent="-228600">
              <a:lnSpc>
                <a:spcPct val="90000"/>
              </a:lnSpc>
              <a:spcBef>
                <a:spcPts val="1000"/>
              </a:spcBef>
              <a:buFont typeface="Arial" panose="020B0604020202020204" pitchFamily="34" charset="0"/>
              <a:buChar char="•"/>
            </a:pPr>
            <a:r>
              <a:rPr lang="en-IE" sz="2000" dirty="0"/>
              <a:t>Library staff will process AAM and make it or the “version of record” (</a:t>
            </a:r>
            <a:r>
              <a:rPr lang="en-IE" sz="2000" dirty="0" err="1"/>
              <a:t>VoR</a:t>
            </a:r>
            <a:r>
              <a:rPr lang="en-IE" sz="2000" dirty="0"/>
              <a:t>) available on CORA</a:t>
            </a:r>
          </a:p>
        </p:txBody>
      </p:sp>
      <p:sp>
        <p:nvSpPr>
          <p:cNvPr id="8" name="TextBox 7">
            <a:extLst>
              <a:ext uri="{FF2B5EF4-FFF2-40B4-BE49-F238E27FC236}">
                <a16:creationId xmlns:a16="http://schemas.microsoft.com/office/drawing/2014/main" id="{9A5E257F-2B6B-B7DF-5874-39D3F390D87C}"/>
              </a:ext>
            </a:extLst>
          </p:cNvPr>
          <p:cNvSpPr txBox="1"/>
          <p:nvPr/>
        </p:nvSpPr>
        <p:spPr>
          <a:xfrm>
            <a:off x="7417774" y="232669"/>
            <a:ext cx="3872753" cy="369332"/>
          </a:xfrm>
          <a:prstGeom prst="rect">
            <a:avLst/>
          </a:prstGeom>
          <a:noFill/>
        </p:spPr>
        <p:txBody>
          <a:bodyPr wrap="square" lIns="91440" tIns="45720" rIns="91440" bIns="45720" anchor="t">
            <a:spAutoFit/>
          </a:bodyPr>
          <a:lstStyle/>
          <a:p>
            <a:r>
              <a:rPr lang="en-IE" dirty="0">
                <a:hlinkClick r:id="rId5"/>
              </a:rPr>
              <a:t>https://libguides.ucc.ie/OAagreements</a:t>
            </a:r>
            <a:r>
              <a:rPr lang="en-IE" dirty="0"/>
              <a:t> </a:t>
            </a:r>
            <a:endParaRPr lang="en-US" dirty="0"/>
          </a:p>
        </p:txBody>
      </p:sp>
    </p:spTree>
    <p:extLst>
      <p:ext uri="{BB962C8B-B14F-4D97-AF65-F5344CB8AC3E}">
        <p14:creationId xmlns:p14="http://schemas.microsoft.com/office/powerpoint/2010/main" val="36042215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c 10">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Content Placeholder 2">
            <a:extLst>
              <a:ext uri="{FF2B5EF4-FFF2-40B4-BE49-F238E27FC236}">
                <a16:creationId xmlns:a16="http://schemas.microsoft.com/office/drawing/2014/main" id="{68C7C57B-4852-136C-E5DA-CC498ED58F12}"/>
              </a:ext>
            </a:extLst>
          </p:cNvPr>
          <p:cNvSpPr>
            <a:spLocks noGrp="1"/>
          </p:cNvSpPr>
          <p:nvPr/>
        </p:nvSpPr>
        <p:spPr>
          <a:xfrm>
            <a:off x="4447308" y="591344"/>
            <a:ext cx="7366566" cy="5528110"/>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t>Diamond / Platinum Open Access</a:t>
            </a:r>
            <a:endParaRPr lang="en-US" sz="3200" dirty="0"/>
          </a:p>
          <a:p>
            <a:pPr marL="0"/>
            <a:endParaRPr lang="en-US" b="1"/>
          </a:p>
          <a:p>
            <a:pPr marL="0"/>
            <a:r>
              <a:rPr lang="en-US" dirty="0"/>
              <a:t>Immediate Open Access publication by the journal or book publisher without payment of a fee. Copyright may be retained by the author and permission barriers to share, or reuse are generally removed. </a:t>
            </a:r>
            <a:endParaRPr lang="en-US" dirty="0">
              <a:cs typeface="Calibri"/>
            </a:endParaRPr>
          </a:p>
          <a:p>
            <a:pPr marL="0"/>
            <a:r>
              <a:rPr lang="en-US" dirty="0"/>
              <a:t>UCC Library Services support Diamond Open Access publishing though OJS – </a:t>
            </a:r>
            <a:r>
              <a:rPr lang="en-US" dirty="0" err="1"/>
              <a:t>eg</a:t>
            </a:r>
            <a:r>
              <a:rPr lang="en-US" dirty="0"/>
              <a:t> </a:t>
            </a:r>
            <a:r>
              <a:rPr lang="en-US" dirty="0">
                <a:hlinkClick r:id="rId3"/>
              </a:rPr>
              <a:t>The Boolean</a:t>
            </a:r>
            <a:r>
              <a:rPr lang="en-US" dirty="0"/>
              <a:t> and Scenario.  </a:t>
            </a:r>
            <a:endParaRPr lang="en-US" dirty="0">
              <a:hlinkClick r:id="rId4"/>
            </a:endParaRPr>
          </a:p>
          <a:p>
            <a:pPr marL="0"/>
            <a:r>
              <a:rPr lang="en-US" dirty="0"/>
              <a:t>Other OA publishing options include:  </a:t>
            </a:r>
            <a:r>
              <a:rPr lang="en-US" dirty="0">
                <a:hlinkClick r:id="rId5"/>
              </a:rPr>
              <a:t>DOAJ</a:t>
            </a:r>
            <a:r>
              <a:rPr lang="en-US" dirty="0"/>
              <a:t>  </a:t>
            </a:r>
            <a:r>
              <a:rPr lang="en-US" dirty="0">
                <a:hlinkClick r:id="rId6"/>
              </a:rPr>
              <a:t>Open Research Europe</a:t>
            </a:r>
            <a:r>
              <a:rPr lang="en-US" dirty="0"/>
              <a:t> , </a:t>
            </a:r>
            <a:r>
              <a:rPr lang="en-US" dirty="0">
                <a:hlinkClick r:id="rId7"/>
              </a:rPr>
              <a:t>Open Library of Humanities</a:t>
            </a:r>
            <a:endParaRPr lang="en-US" dirty="0" err="1">
              <a:cs typeface="Calibri"/>
            </a:endParaRPr>
          </a:p>
          <a:p>
            <a:pPr marL="0"/>
            <a:endParaRPr lang="en-US"/>
          </a:p>
        </p:txBody>
      </p:sp>
    </p:spTree>
    <p:extLst>
      <p:ext uri="{BB962C8B-B14F-4D97-AF65-F5344CB8AC3E}">
        <p14:creationId xmlns:p14="http://schemas.microsoft.com/office/powerpoint/2010/main" val="11823407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2D2B266D-3625-4584-A5C3-7D3F672CFF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463B99A-73EE-4FBB-B7C4-F9F9BCC25C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5D2A5D1-BA0D-47D3-B051-DA7743C46E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219825"/>
          </a:xfrm>
          <a:custGeom>
            <a:avLst/>
            <a:gdLst>
              <a:gd name="connsiteX0" fmla="*/ 6789701 w 12192000"/>
              <a:gd name="connsiteY0" fmla="*/ 6151588 h 6219825"/>
              <a:gd name="connsiteX1" fmla="*/ 6788702 w 12192000"/>
              <a:gd name="connsiteY1" fmla="*/ 6151666 h 6219825"/>
              <a:gd name="connsiteX2" fmla="*/ 6788476 w 12192000"/>
              <a:gd name="connsiteY2" fmla="*/ 6152200 h 6219825"/>
              <a:gd name="connsiteX3" fmla="*/ 9834 w 12192000"/>
              <a:gd name="connsiteY3" fmla="*/ 0 h 6219825"/>
              <a:gd name="connsiteX4" fmla="*/ 12357 w 12192000"/>
              <a:gd name="connsiteY4" fmla="*/ 1 h 6219825"/>
              <a:gd name="connsiteX5" fmla="*/ 12192000 w 12192000"/>
              <a:gd name="connsiteY5" fmla="*/ 1 h 6219825"/>
              <a:gd name="connsiteX6" fmla="*/ 12192000 w 12192000"/>
              <a:gd name="connsiteY6" fmla="*/ 5105401 h 6219825"/>
              <a:gd name="connsiteX7" fmla="*/ 12191716 w 12192000"/>
              <a:gd name="connsiteY7" fmla="*/ 5105401 h 6219825"/>
              <a:gd name="connsiteX8" fmla="*/ 12192000 w 12192000"/>
              <a:gd name="connsiteY8" fmla="*/ 5256977 h 6219825"/>
              <a:gd name="connsiteX9" fmla="*/ 12061096 w 12192000"/>
              <a:gd name="connsiteY9" fmla="*/ 5296034 h 6219825"/>
              <a:gd name="connsiteX10" fmla="*/ 11676800 w 12192000"/>
              <a:gd name="connsiteY10" fmla="*/ 5399652 h 6219825"/>
              <a:gd name="connsiteX11" fmla="*/ 10425355 w 12192000"/>
              <a:gd name="connsiteY11" fmla="*/ 5683310 h 6219825"/>
              <a:gd name="connsiteX12" fmla="*/ 9424022 w 12192000"/>
              <a:gd name="connsiteY12" fmla="*/ 5858546 h 6219825"/>
              <a:gd name="connsiteX13" fmla="*/ 8458419 w 12192000"/>
              <a:gd name="connsiteY13" fmla="*/ 5992303 h 6219825"/>
              <a:gd name="connsiteX14" fmla="*/ 7715970 w 12192000"/>
              <a:gd name="connsiteY14" fmla="*/ 6072283 h 6219825"/>
              <a:gd name="connsiteX15" fmla="*/ 6951716 w 12192000"/>
              <a:gd name="connsiteY15" fmla="*/ 6138091 h 6219825"/>
              <a:gd name="connsiteX16" fmla="*/ 6936303 w 12192000"/>
              <a:gd name="connsiteY16" fmla="*/ 6140163 h 6219825"/>
              <a:gd name="connsiteX17" fmla="*/ 6790448 w 12192000"/>
              <a:gd name="connsiteY17" fmla="*/ 6151529 h 6219825"/>
              <a:gd name="connsiteX18" fmla="*/ 6799941 w 12192000"/>
              <a:gd name="connsiteY18" fmla="*/ 6153349 h 6219825"/>
              <a:gd name="connsiteX19" fmla="*/ 6835432 w 12192000"/>
              <a:gd name="connsiteY19" fmla="*/ 6151642 h 6219825"/>
              <a:gd name="connsiteX20" fmla="*/ 6884003 w 12192000"/>
              <a:gd name="connsiteY20" fmla="*/ 6148662 h 6219825"/>
              <a:gd name="connsiteX21" fmla="*/ 7578771 w 12192000"/>
              <a:gd name="connsiteY21" fmla="*/ 6116122 h 6219825"/>
              <a:gd name="connsiteX22" fmla="*/ 8623845 w 12192000"/>
              <a:gd name="connsiteY22" fmla="*/ 6029188 h 6219825"/>
              <a:gd name="connsiteX23" fmla="*/ 9479970 w 12192000"/>
              <a:gd name="connsiteY23" fmla="*/ 5925239 h 6219825"/>
              <a:gd name="connsiteX24" fmla="*/ 10629308 w 12192000"/>
              <a:gd name="connsiteY24" fmla="*/ 5731000 h 6219825"/>
              <a:gd name="connsiteX25" fmla="*/ 11998498 w 12192000"/>
              <a:gd name="connsiteY25" fmla="*/ 5404869 h 6219825"/>
              <a:gd name="connsiteX26" fmla="*/ 12192000 w 12192000"/>
              <a:gd name="connsiteY26" fmla="*/ 5347846 h 6219825"/>
              <a:gd name="connsiteX27" fmla="*/ 12192000 w 12192000"/>
              <a:gd name="connsiteY27" fmla="*/ 5402606 h 6219825"/>
              <a:gd name="connsiteX28" fmla="*/ 11829257 w 12192000"/>
              <a:gd name="connsiteY28" fmla="*/ 5507950 h 6219825"/>
              <a:gd name="connsiteX29" fmla="*/ 10939183 w 12192000"/>
              <a:gd name="connsiteY29" fmla="*/ 5722555 h 6219825"/>
              <a:gd name="connsiteX30" fmla="*/ 9985530 w 12192000"/>
              <a:gd name="connsiteY30" fmla="*/ 5902635 h 6219825"/>
              <a:gd name="connsiteX31" fmla="*/ 9186882 w 12192000"/>
              <a:gd name="connsiteY31" fmla="*/ 6018631 h 6219825"/>
              <a:gd name="connsiteX32" fmla="*/ 8578198 w 12192000"/>
              <a:gd name="connsiteY32" fmla="*/ 6088179 h 6219825"/>
              <a:gd name="connsiteX33" fmla="*/ 7864358 w 12192000"/>
              <a:gd name="connsiteY33" fmla="*/ 6149656 h 6219825"/>
              <a:gd name="connsiteX34" fmla="*/ 6935502 w 12192000"/>
              <a:gd name="connsiteY34" fmla="*/ 6201071 h 6219825"/>
              <a:gd name="connsiteX35" fmla="*/ 6477750 w 12192000"/>
              <a:gd name="connsiteY35" fmla="*/ 6214980 h 6219825"/>
              <a:gd name="connsiteX36" fmla="*/ 6362294 w 12192000"/>
              <a:gd name="connsiteY36" fmla="*/ 6219825 h 6219825"/>
              <a:gd name="connsiteX37" fmla="*/ 6057129 w 12192000"/>
              <a:gd name="connsiteY37" fmla="*/ 6219825 h 6219825"/>
              <a:gd name="connsiteX38" fmla="*/ 5977784 w 12192000"/>
              <a:gd name="connsiteY38" fmla="*/ 6215229 h 6219825"/>
              <a:gd name="connsiteX39" fmla="*/ 5265087 w 12192000"/>
              <a:gd name="connsiteY39" fmla="*/ 6178965 h 6219825"/>
              <a:gd name="connsiteX40" fmla="*/ 4346277 w 12192000"/>
              <a:gd name="connsiteY40" fmla="*/ 6116869 h 6219825"/>
              <a:gd name="connsiteX41" fmla="*/ 3373045 w 12192000"/>
              <a:gd name="connsiteY41" fmla="*/ 6018259 h 6219825"/>
              <a:gd name="connsiteX42" fmla="*/ 2362173 w 12192000"/>
              <a:gd name="connsiteY42" fmla="*/ 5899282 h 6219825"/>
              <a:gd name="connsiteX43" fmla="*/ 1233178 w 12192000"/>
              <a:gd name="connsiteY43" fmla="*/ 5726033 h 6219825"/>
              <a:gd name="connsiteX44" fmla="*/ 68500 w 12192000"/>
              <a:gd name="connsiteY44" fmla="*/ 5486226 h 6219825"/>
              <a:gd name="connsiteX45" fmla="*/ 0 w 12192000"/>
              <a:gd name="connsiteY45" fmla="*/ 5468863 h 6219825"/>
              <a:gd name="connsiteX46" fmla="*/ 0 w 12192000"/>
              <a:gd name="connsiteY46" fmla="*/ 5412351 h 6219825"/>
              <a:gd name="connsiteX47" fmla="*/ 72441 w 12192000"/>
              <a:gd name="connsiteY47" fmla="*/ 5431135 h 6219825"/>
              <a:gd name="connsiteX48" fmla="*/ 600716 w 12192000"/>
              <a:gd name="connsiteY48" fmla="*/ 5549555 h 6219825"/>
              <a:gd name="connsiteX49" fmla="*/ 1769512 w 12192000"/>
              <a:gd name="connsiteY49" fmla="*/ 5759811 h 6219825"/>
              <a:gd name="connsiteX50" fmla="*/ 2613554 w 12192000"/>
              <a:gd name="connsiteY50" fmla="*/ 5876802 h 6219825"/>
              <a:gd name="connsiteX51" fmla="*/ 2581134 w 12192000"/>
              <a:gd name="connsiteY51" fmla="*/ 5866867 h 6219825"/>
              <a:gd name="connsiteX52" fmla="*/ 1112635 w 12192000"/>
              <a:gd name="connsiteY52" fmla="*/ 5534031 h 6219825"/>
              <a:gd name="connsiteX53" fmla="*/ 420412 w 12192000"/>
              <a:gd name="connsiteY53" fmla="*/ 5334514 h 6219825"/>
              <a:gd name="connsiteX54" fmla="*/ 0 w 12192000"/>
              <a:gd name="connsiteY54" fmla="*/ 5195539 h 6219825"/>
              <a:gd name="connsiteX55" fmla="*/ 60 w 12192000"/>
              <a:gd name="connsiteY55" fmla="*/ 5105401 h 6219825"/>
              <a:gd name="connsiteX56" fmla="*/ 0 w 12192000"/>
              <a:gd name="connsiteY56" fmla="*/ 5105401 h 6219825"/>
              <a:gd name="connsiteX57" fmla="*/ 0 w 12192000"/>
              <a:gd name="connsiteY57" fmla="*/ 1 h 6219825"/>
              <a:gd name="connsiteX58" fmla="*/ 9834 w 12192000"/>
              <a:gd name="connsiteY58" fmla="*/ 1 h 621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192000" h="6219825">
                <a:moveTo>
                  <a:pt x="6789701" y="6151588"/>
                </a:moveTo>
                <a:lnTo>
                  <a:pt x="6788702" y="6151666"/>
                </a:lnTo>
                <a:cubicBezTo>
                  <a:pt x="6788627" y="6151844"/>
                  <a:pt x="6788551" y="6152022"/>
                  <a:pt x="6788476" y="6152200"/>
                </a:cubicBezTo>
                <a:close/>
                <a:moveTo>
                  <a:pt x="9834" y="0"/>
                </a:moveTo>
                <a:lnTo>
                  <a:pt x="12357" y="1"/>
                </a:lnTo>
                <a:lnTo>
                  <a:pt x="12192000" y="1"/>
                </a:lnTo>
                <a:lnTo>
                  <a:pt x="12192000" y="5105401"/>
                </a:lnTo>
                <a:lnTo>
                  <a:pt x="12191716" y="5105401"/>
                </a:lnTo>
                <a:lnTo>
                  <a:pt x="12192000" y="5256977"/>
                </a:lnTo>
                <a:lnTo>
                  <a:pt x="12061096" y="5296034"/>
                </a:lnTo>
                <a:cubicBezTo>
                  <a:pt x="11933500" y="5332263"/>
                  <a:pt x="11805390" y="5366806"/>
                  <a:pt x="11676800" y="5399652"/>
                </a:cubicBezTo>
                <a:cubicBezTo>
                  <a:pt x="11262789" y="5507204"/>
                  <a:pt x="10845343" y="5600846"/>
                  <a:pt x="10425355" y="5683310"/>
                </a:cubicBezTo>
                <a:cubicBezTo>
                  <a:pt x="10092810" y="5748549"/>
                  <a:pt x="9759033" y="5806970"/>
                  <a:pt x="9424022" y="5858546"/>
                </a:cubicBezTo>
                <a:cubicBezTo>
                  <a:pt x="9102997" y="5908224"/>
                  <a:pt x="8781133" y="5952809"/>
                  <a:pt x="8458419" y="5992303"/>
                </a:cubicBezTo>
                <a:cubicBezTo>
                  <a:pt x="8211360" y="6022481"/>
                  <a:pt x="7963792" y="6048065"/>
                  <a:pt x="7715970" y="6072283"/>
                </a:cubicBezTo>
                <a:lnTo>
                  <a:pt x="6951716" y="6138091"/>
                </a:lnTo>
                <a:lnTo>
                  <a:pt x="6936303" y="6140163"/>
                </a:lnTo>
                <a:lnTo>
                  <a:pt x="6790448" y="6151529"/>
                </a:lnTo>
                <a:lnTo>
                  <a:pt x="6799941" y="6153349"/>
                </a:lnTo>
                <a:cubicBezTo>
                  <a:pt x="6811623" y="6153816"/>
                  <a:pt x="6823734" y="6151642"/>
                  <a:pt x="6835432" y="6151642"/>
                </a:cubicBezTo>
                <a:cubicBezTo>
                  <a:pt x="6851580" y="6151642"/>
                  <a:pt x="6867729" y="6149034"/>
                  <a:pt x="6884003" y="6148662"/>
                </a:cubicBezTo>
                <a:cubicBezTo>
                  <a:pt x="7115805" y="6143198"/>
                  <a:pt x="7347351" y="6131026"/>
                  <a:pt x="7578771" y="6116122"/>
                </a:cubicBezTo>
                <a:cubicBezTo>
                  <a:pt x="7927552" y="6093644"/>
                  <a:pt x="8276080" y="6065453"/>
                  <a:pt x="8623845" y="6029188"/>
                </a:cubicBezTo>
                <a:cubicBezTo>
                  <a:pt x="8909939" y="5999878"/>
                  <a:pt x="9195310" y="5965228"/>
                  <a:pt x="9479970" y="5925239"/>
                </a:cubicBezTo>
                <a:cubicBezTo>
                  <a:pt x="9864901" y="5870842"/>
                  <a:pt x="10248014" y="5806101"/>
                  <a:pt x="10629308" y="5731000"/>
                </a:cubicBezTo>
                <a:cubicBezTo>
                  <a:pt x="11090114" y="5639842"/>
                  <a:pt x="11546975" y="5532291"/>
                  <a:pt x="11998498" y="5404869"/>
                </a:cubicBezTo>
                <a:lnTo>
                  <a:pt x="12192000" y="5347846"/>
                </a:lnTo>
                <a:lnTo>
                  <a:pt x="12192000" y="5402606"/>
                </a:lnTo>
                <a:lnTo>
                  <a:pt x="11829257" y="5507950"/>
                </a:lnTo>
                <a:cubicBezTo>
                  <a:pt x="11534769" y="5587680"/>
                  <a:pt x="11238120" y="5658596"/>
                  <a:pt x="10939183" y="5722555"/>
                </a:cubicBezTo>
                <a:cubicBezTo>
                  <a:pt x="10622824" y="5790365"/>
                  <a:pt x="10304941" y="5850387"/>
                  <a:pt x="9985530" y="5902635"/>
                </a:cubicBezTo>
                <a:cubicBezTo>
                  <a:pt x="9720036" y="5946102"/>
                  <a:pt x="9453814" y="5984764"/>
                  <a:pt x="9186882" y="6018631"/>
                </a:cubicBezTo>
                <a:cubicBezTo>
                  <a:pt x="8984197" y="6044216"/>
                  <a:pt x="8781514" y="6068309"/>
                  <a:pt x="8578198" y="6088179"/>
                </a:cubicBezTo>
                <a:lnTo>
                  <a:pt x="7864358" y="6149656"/>
                </a:lnTo>
                <a:cubicBezTo>
                  <a:pt x="7554994" y="6172009"/>
                  <a:pt x="7245502" y="6189895"/>
                  <a:pt x="6935502" y="6201071"/>
                </a:cubicBezTo>
                <a:lnTo>
                  <a:pt x="6477750" y="6214980"/>
                </a:lnTo>
                <a:cubicBezTo>
                  <a:pt x="6439195" y="6212895"/>
                  <a:pt x="6400529" y="6214521"/>
                  <a:pt x="6362294" y="6219825"/>
                </a:cubicBezTo>
                <a:lnTo>
                  <a:pt x="6057129" y="6219825"/>
                </a:lnTo>
                <a:lnTo>
                  <a:pt x="5977784" y="6215229"/>
                </a:lnTo>
                <a:lnTo>
                  <a:pt x="5265087" y="6178965"/>
                </a:lnTo>
                <a:cubicBezTo>
                  <a:pt x="4958267" y="6166544"/>
                  <a:pt x="4651826" y="6146055"/>
                  <a:pt x="4346277" y="6116869"/>
                </a:cubicBezTo>
                <a:lnTo>
                  <a:pt x="3373045" y="6018259"/>
                </a:lnTo>
                <a:cubicBezTo>
                  <a:pt x="3035412" y="5983982"/>
                  <a:pt x="2698456" y="5944327"/>
                  <a:pt x="2362173" y="5899282"/>
                </a:cubicBezTo>
                <a:cubicBezTo>
                  <a:pt x="1984692" y="5849108"/>
                  <a:pt x="1608364" y="5791358"/>
                  <a:pt x="1233178" y="5726033"/>
                </a:cubicBezTo>
                <a:cubicBezTo>
                  <a:pt x="842181" y="5657291"/>
                  <a:pt x="453758" y="5578770"/>
                  <a:pt x="68500" y="5486226"/>
                </a:cubicBezTo>
                <a:lnTo>
                  <a:pt x="0" y="5468863"/>
                </a:lnTo>
                <a:lnTo>
                  <a:pt x="0" y="5412351"/>
                </a:lnTo>
                <a:lnTo>
                  <a:pt x="72441" y="5431135"/>
                </a:lnTo>
                <a:cubicBezTo>
                  <a:pt x="247961" y="5473331"/>
                  <a:pt x="424164" y="5512608"/>
                  <a:pt x="600716" y="5549555"/>
                </a:cubicBezTo>
                <a:cubicBezTo>
                  <a:pt x="988279" y="5630403"/>
                  <a:pt x="1378133" y="5699330"/>
                  <a:pt x="1769512" y="5759811"/>
                </a:cubicBezTo>
                <a:cubicBezTo>
                  <a:pt x="2052426" y="5803406"/>
                  <a:pt x="2335725" y="5843519"/>
                  <a:pt x="2613554" y="5876802"/>
                </a:cubicBezTo>
                <a:cubicBezTo>
                  <a:pt x="2605544" y="5879410"/>
                  <a:pt x="2594611" y="5869350"/>
                  <a:pt x="2581134" y="5866867"/>
                </a:cubicBezTo>
                <a:cubicBezTo>
                  <a:pt x="2087178" y="5774877"/>
                  <a:pt x="1597684" y="5663937"/>
                  <a:pt x="1112635" y="5534031"/>
                </a:cubicBezTo>
                <a:cubicBezTo>
                  <a:pt x="880453" y="5471934"/>
                  <a:pt x="649713" y="5405428"/>
                  <a:pt x="420412" y="5334514"/>
                </a:cubicBezTo>
                <a:lnTo>
                  <a:pt x="0" y="5195539"/>
                </a:lnTo>
                <a:lnTo>
                  <a:pt x="60" y="5105401"/>
                </a:lnTo>
                <a:lnTo>
                  <a:pt x="0" y="5105401"/>
                </a:lnTo>
                <a:lnTo>
                  <a:pt x="0" y="1"/>
                </a:lnTo>
                <a:lnTo>
                  <a:pt x="9834"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 name="Picture 2" descr="Diagram, schematic&#10;&#10;Description automatically generated">
            <a:extLst>
              <a:ext uri="{FF2B5EF4-FFF2-40B4-BE49-F238E27FC236}">
                <a16:creationId xmlns:a16="http://schemas.microsoft.com/office/drawing/2014/main" id="{D58683E3-9FF3-A631-C330-AFCC06BFFB64}"/>
              </a:ext>
            </a:extLst>
          </p:cNvPr>
          <p:cNvPicPr>
            <a:picLocks noChangeAspect="1"/>
          </p:cNvPicPr>
          <p:nvPr/>
        </p:nvPicPr>
        <p:blipFill>
          <a:blip r:embed="rId3"/>
          <a:stretch>
            <a:fillRect/>
          </a:stretch>
        </p:blipFill>
        <p:spPr>
          <a:xfrm>
            <a:off x="2349615" y="-12031"/>
            <a:ext cx="7021876" cy="5788362"/>
          </a:xfrm>
          <a:prstGeom prst="rect">
            <a:avLst/>
          </a:prstGeom>
        </p:spPr>
      </p:pic>
      <p:sp>
        <p:nvSpPr>
          <p:cNvPr id="3" name="TextBox 2">
            <a:extLst>
              <a:ext uri="{FF2B5EF4-FFF2-40B4-BE49-F238E27FC236}">
                <a16:creationId xmlns:a16="http://schemas.microsoft.com/office/drawing/2014/main" id="{4D7F2669-6F47-33CF-2DFF-1E9D0350A211}"/>
              </a:ext>
            </a:extLst>
          </p:cNvPr>
          <p:cNvSpPr txBox="1"/>
          <p:nvPr/>
        </p:nvSpPr>
        <p:spPr>
          <a:xfrm>
            <a:off x="3354657" y="6309731"/>
            <a:ext cx="673719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cs typeface="Calibri"/>
              </a:rPr>
              <a:t>Benefits of Open Access Publishing</a:t>
            </a:r>
            <a:endParaRPr lang="en-US" sz="2800" b="1"/>
          </a:p>
        </p:txBody>
      </p:sp>
    </p:spTree>
    <p:extLst>
      <p:ext uri="{BB962C8B-B14F-4D97-AF65-F5344CB8AC3E}">
        <p14:creationId xmlns:p14="http://schemas.microsoft.com/office/powerpoint/2010/main" val="12975861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5" name="Rectangle 64">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A79F32E-BCB7-473D-A5B0-90F8AAC43C7B}"/>
              </a:ext>
            </a:extLst>
          </p:cNvPr>
          <p:cNvSpPr>
            <a:spLocks noGrp="1"/>
          </p:cNvSpPr>
          <p:nvPr>
            <p:ph type="title"/>
          </p:nvPr>
        </p:nvSpPr>
        <p:spPr>
          <a:xfrm>
            <a:off x="618549" y="401556"/>
            <a:ext cx="10997574" cy="906740"/>
          </a:xfrm>
        </p:spPr>
        <p:txBody>
          <a:bodyPr>
            <a:noAutofit/>
          </a:bodyPr>
          <a:lstStyle/>
          <a:p>
            <a:br>
              <a:rPr lang="en-IE" sz="4800" b="1" dirty="0">
                <a:latin typeface="Calibri"/>
                <a:ea typeface="+mn-ea"/>
                <a:cs typeface="+mn-cs"/>
              </a:rPr>
            </a:br>
            <a:r>
              <a:rPr lang="en-IE" sz="4800" b="1" dirty="0">
                <a:latin typeface="Calibri"/>
                <a:ea typeface="+mn-ea"/>
                <a:cs typeface="+mn-cs"/>
              </a:rPr>
              <a:t>To publish your research </a:t>
            </a:r>
            <a:r>
              <a:rPr lang="en-US" sz="4800" b="1" dirty="0">
                <a:latin typeface="+mn-lt"/>
                <a:ea typeface="+mn-ea"/>
                <a:cs typeface="+mn-cs"/>
              </a:rPr>
              <a:t>c</a:t>
            </a:r>
            <a:r>
              <a:rPr lang="en-US" sz="4800" b="1" dirty="0">
                <a:latin typeface="+mn-lt"/>
                <a:cs typeface="+mn-cs"/>
              </a:rPr>
              <a:t>ontact:</a:t>
            </a:r>
            <a:br>
              <a:rPr lang="en-US" sz="4800" b="1" dirty="0">
                <a:latin typeface="+mn-lt"/>
                <a:cs typeface="+mn-cs"/>
              </a:rPr>
            </a:br>
            <a:endParaRPr lang="en-IE" sz="4800" b="1" dirty="0">
              <a:latin typeface="Calibri"/>
              <a:ea typeface="+mn-ea"/>
              <a:cs typeface="+mn-cs"/>
            </a:endParaRPr>
          </a:p>
        </p:txBody>
      </p:sp>
      <p:sp>
        <p:nvSpPr>
          <p:cNvPr id="67"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B4AB441E-7A37-4C7E-8099-CBB8A41F8C2D}"/>
              </a:ext>
            </a:extLst>
          </p:cNvPr>
          <p:cNvSpPr>
            <a:spLocks noGrp="1"/>
          </p:cNvSpPr>
          <p:nvPr>
            <p:ph idx="1"/>
          </p:nvPr>
        </p:nvSpPr>
        <p:spPr>
          <a:xfrm>
            <a:off x="621016" y="1332411"/>
            <a:ext cx="10946920" cy="5525589"/>
          </a:xfrm>
        </p:spPr>
        <p:txBody>
          <a:bodyPr vert="horz" lIns="91440" tIns="45720" rIns="91440" bIns="45720" rtlCol="0" anchor="t">
            <a:noAutofit/>
          </a:bodyPr>
          <a:lstStyle/>
          <a:p>
            <a:endParaRPr lang="en-IE" sz="1900"/>
          </a:p>
          <a:p>
            <a:pPr marL="0" indent="0">
              <a:buNone/>
            </a:pPr>
            <a:endParaRPr lang="en-IE" sz="1900"/>
          </a:p>
          <a:p>
            <a:pPr marL="0" indent="0">
              <a:buNone/>
            </a:pPr>
            <a:endParaRPr lang="en-GB" sz="1900"/>
          </a:p>
          <a:p>
            <a:pPr marL="0" indent="0">
              <a:buNone/>
            </a:pPr>
            <a:endParaRPr lang="en-IE" sz="1900"/>
          </a:p>
        </p:txBody>
      </p:sp>
      <p:pic>
        <p:nvPicPr>
          <p:cNvPr id="7" name="Picture 2" descr="Archive your Research - Open Access - UCC Library at University College Cork">
            <a:extLst>
              <a:ext uri="{FF2B5EF4-FFF2-40B4-BE49-F238E27FC236}">
                <a16:creationId xmlns:a16="http://schemas.microsoft.com/office/drawing/2014/main" id="{588090E7-494E-486C-A77E-9B73725766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65522" y="2040623"/>
            <a:ext cx="1323622" cy="115974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A picture containing text, clipart&#10;&#10;Description automatically generated">
            <a:extLst>
              <a:ext uri="{FF2B5EF4-FFF2-40B4-BE49-F238E27FC236}">
                <a16:creationId xmlns:a16="http://schemas.microsoft.com/office/drawing/2014/main" id="{7BA0BC39-CE8F-BD40-6A1B-BC3ADDAAD759}"/>
              </a:ext>
            </a:extLst>
          </p:cNvPr>
          <p:cNvPicPr>
            <a:picLocks noChangeAspect="1"/>
          </p:cNvPicPr>
          <p:nvPr/>
        </p:nvPicPr>
        <p:blipFill>
          <a:blip r:embed="rId4"/>
          <a:stretch>
            <a:fillRect/>
          </a:stretch>
        </p:blipFill>
        <p:spPr>
          <a:xfrm>
            <a:off x="9055989" y="5944604"/>
            <a:ext cx="2466975" cy="647700"/>
          </a:xfrm>
          <a:prstGeom prst="rect">
            <a:avLst/>
          </a:prstGeom>
        </p:spPr>
      </p:pic>
      <p:sp>
        <p:nvSpPr>
          <p:cNvPr id="6" name="TextBox 5">
            <a:extLst>
              <a:ext uri="{FF2B5EF4-FFF2-40B4-BE49-F238E27FC236}">
                <a16:creationId xmlns:a16="http://schemas.microsoft.com/office/drawing/2014/main" id="{88DB9EB9-1568-542D-292D-0D6E4EBB2D7B}"/>
              </a:ext>
            </a:extLst>
          </p:cNvPr>
          <p:cNvSpPr txBox="1"/>
          <p:nvPr/>
        </p:nvSpPr>
        <p:spPr>
          <a:xfrm>
            <a:off x="419002" y="1821700"/>
            <a:ext cx="11541350" cy="4967514"/>
          </a:xfrm>
          <a:prstGeom prst="rect">
            <a:avLst/>
          </a:prstGeom>
          <a:noFill/>
        </p:spPr>
        <p:txBody>
          <a:bodyPr wrap="square" rtlCol="0">
            <a:spAutoFit/>
          </a:bodyPr>
          <a:lstStyle/>
          <a:p>
            <a:pPr>
              <a:lnSpc>
                <a:spcPct val="90000"/>
              </a:lnSpc>
              <a:defRPr/>
            </a:pPr>
            <a:r>
              <a:rPr lang="en-US" sz="3600" b="1" dirty="0">
                <a:latin typeface="+mn-lt"/>
                <a:cs typeface="+mn-cs"/>
              </a:rPr>
              <a:t>The CORA Team:  </a:t>
            </a:r>
            <a:r>
              <a:rPr lang="en-US" sz="3600" b="1" dirty="0">
                <a:latin typeface="+mn-lt"/>
                <a:cs typeface="+mn-cs"/>
                <a:hlinkClick r:id="rId5"/>
              </a:rPr>
              <a:t>Cora@ucc.ie</a:t>
            </a:r>
            <a:endParaRPr lang="en-US" sz="3600" b="1" dirty="0">
              <a:latin typeface="+mn-lt"/>
              <a:cs typeface="+mn-cs"/>
            </a:endParaRPr>
          </a:p>
          <a:p>
            <a:pPr>
              <a:lnSpc>
                <a:spcPct val="90000"/>
              </a:lnSpc>
              <a:defRPr/>
            </a:pPr>
            <a:r>
              <a:rPr lang="en-US" sz="1400" b="1" dirty="0">
                <a:latin typeface="+mn-lt"/>
                <a:cs typeface="+mn-cs"/>
              </a:rPr>
              <a:t>(Gill, Liz, Siobhan &amp; </a:t>
            </a:r>
            <a:r>
              <a:rPr lang="en-US" sz="1400" b="1">
                <a:latin typeface="+mn-lt"/>
                <a:cs typeface="+mn-cs"/>
              </a:rPr>
              <a:t>Donna)</a:t>
            </a:r>
          </a:p>
          <a:p>
            <a:pPr>
              <a:lnSpc>
                <a:spcPct val="90000"/>
              </a:lnSpc>
              <a:defRPr/>
            </a:pPr>
            <a:endParaRPr lang="en-US" sz="1400" b="1" dirty="0">
              <a:latin typeface="+mn-lt"/>
              <a:cs typeface="+mn-cs"/>
            </a:endParaRPr>
          </a:p>
          <a:p>
            <a:pPr>
              <a:lnSpc>
                <a:spcPct val="90000"/>
              </a:lnSpc>
              <a:defRPr/>
            </a:pPr>
            <a:r>
              <a:rPr lang="en-US" sz="3600" b="1" dirty="0">
                <a:latin typeface="+mn-lt"/>
                <a:cs typeface="+mn-cs"/>
              </a:rPr>
              <a:t>OA Article Publishing Charge queries:  </a:t>
            </a:r>
            <a:r>
              <a:rPr lang="en-US" sz="3600" b="1" dirty="0">
                <a:latin typeface="+mn-lt"/>
                <a:cs typeface="+mn-cs"/>
                <a:hlinkClick r:id="rId6"/>
              </a:rPr>
              <a:t>libraryapcs@ucc.ie</a:t>
            </a:r>
            <a:endParaRPr lang="en-US" sz="3600" b="1" dirty="0">
              <a:latin typeface="+mn-lt"/>
              <a:cs typeface="+mn-cs"/>
            </a:endParaRPr>
          </a:p>
          <a:p>
            <a:pPr>
              <a:lnSpc>
                <a:spcPct val="90000"/>
              </a:lnSpc>
              <a:defRPr/>
            </a:pPr>
            <a:endParaRPr lang="en-US" sz="3600" b="1" dirty="0">
              <a:latin typeface="+mn-lt"/>
              <a:cs typeface="+mn-cs"/>
            </a:endParaRPr>
          </a:p>
          <a:p>
            <a:pPr>
              <a:lnSpc>
                <a:spcPct val="90000"/>
              </a:lnSpc>
              <a:defRPr/>
            </a:pPr>
            <a:r>
              <a:rPr lang="en-US" sz="3600" b="1" dirty="0">
                <a:latin typeface="+mn-lt"/>
                <a:cs typeface="+mn-cs"/>
              </a:rPr>
              <a:t>The Scholarly Communications Librarian:  </a:t>
            </a:r>
            <a:r>
              <a:rPr lang="en-US" sz="3600" b="1" dirty="0">
                <a:latin typeface="+mn-lt"/>
                <a:cs typeface="+mn-cs"/>
                <a:hlinkClick r:id="rId7"/>
              </a:rPr>
              <a:t>donna.odoibhlin@ucc.ie</a:t>
            </a:r>
            <a:r>
              <a:rPr lang="en-US" sz="3600" b="1" dirty="0">
                <a:latin typeface="+mn-lt"/>
                <a:cs typeface="+mn-cs"/>
              </a:rPr>
              <a:t> </a:t>
            </a:r>
          </a:p>
          <a:p>
            <a:pPr>
              <a:lnSpc>
                <a:spcPct val="90000"/>
              </a:lnSpc>
              <a:defRPr/>
            </a:pPr>
            <a:endParaRPr lang="en-US" sz="3600" b="1" dirty="0">
              <a:latin typeface="+mn-lt"/>
              <a:cs typeface="+mn-cs"/>
            </a:endParaRPr>
          </a:p>
          <a:p>
            <a:pPr>
              <a:lnSpc>
                <a:spcPct val="90000"/>
              </a:lnSpc>
              <a:spcBef>
                <a:spcPts val="20"/>
              </a:spcBef>
              <a:defRPr/>
            </a:pPr>
            <a:r>
              <a:rPr lang="en-US" sz="3600" b="1" dirty="0">
                <a:latin typeface="+mn-lt"/>
                <a:cs typeface="+mn-cs"/>
              </a:rPr>
              <a:t>More info:</a:t>
            </a:r>
          </a:p>
          <a:p>
            <a:pPr>
              <a:lnSpc>
                <a:spcPct val="90000"/>
              </a:lnSpc>
              <a:spcBef>
                <a:spcPts val="20"/>
              </a:spcBef>
              <a:defRPr/>
            </a:pPr>
            <a:r>
              <a:rPr lang="en-US" sz="3600" b="1" dirty="0">
                <a:latin typeface="+mn-lt"/>
                <a:cs typeface="+mn-cs"/>
                <a:hlinkClick r:id="rId8"/>
              </a:rPr>
              <a:t>https://libguides.ucc.ie/OAatucc/home</a:t>
            </a:r>
            <a:endParaRPr lang="en-US" sz="3600" b="1" dirty="0">
              <a:latin typeface="+mn-lt"/>
              <a:cs typeface="+mn-cs"/>
            </a:endParaRPr>
          </a:p>
          <a:p>
            <a:pPr>
              <a:lnSpc>
                <a:spcPct val="90000"/>
              </a:lnSpc>
              <a:spcBef>
                <a:spcPts val="20"/>
              </a:spcBef>
              <a:defRPr/>
            </a:pPr>
            <a:r>
              <a:rPr lang="en-US" sz="3600" dirty="0">
                <a:latin typeface="+mn-lt"/>
                <a:cs typeface="+mn-cs"/>
                <a:hlinkClick r:id="rId9"/>
              </a:rPr>
              <a:t>http://libguides.ucc.ie/theses/etheses</a:t>
            </a:r>
            <a:r>
              <a:rPr lang="en-US" sz="3600" dirty="0">
                <a:latin typeface="+mn-lt"/>
                <a:cs typeface="+mn-cs"/>
              </a:rPr>
              <a:t>   </a:t>
            </a:r>
          </a:p>
        </p:txBody>
      </p:sp>
    </p:spTree>
    <p:extLst>
      <p:ext uri="{BB962C8B-B14F-4D97-AF65-F5344CB8AC3E}">
        <p14:creationId xmlns:p14="http://schemas.microsoft.com/office/powerpoint/2010/main" val="8991040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5F49AC7-37A1-75FF-8FC4-BEB45412C277}"/>
              </a:ext>
            </a:extLst>
          </p:cNvPr>
          <p:cNvSpPr>
            <a:spLocks noGrp="1"/>
          </p:cNvSpPr>
          <p:nvPr>
            <p:ph type="title"/>
          </p:nvPr>
        </p:nvSpPr>
        <p:spPr>
          <a:xfrm>
            <a:off x="640080" y="325369"/>
            <a:ext cx="4368602" cy="1956841"/>
          </a:xfrm>
        </p:spPr>
        <p:txBody>
          <a:bodyPr anchor="b">
            <a:normAutofit/>
          </a:bodyPr>
          <a:lstStyle/>
          <a:p>
            <a:r>
              <a:rPr lang="en-US" sz="5400" dirty="0">
                <a:cs typeface="Calibri Light"/>
              </a:rPr>
              <a:t>Questions?</a:t>
            </a:r>
            <a:endParaRPr lang="en-US" sz="5400" dirty="0"/>
          </a:p>
        </p:txBody>
      </p:sp>
      <p:sp>
        <p:nvSpPr>
          <p:cNvPr id="1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87E2631B-C9B3-094E-B166-6E033AA0F7D4}"/>
              </a:ext>
            </a:extLst>
          </p:cNvPr>
          <p:cNvSpPr>
            <a:spLocks noGrp="1"/>
          </p:cNvSpPr>
          <p:nvPr>
            <p:ph idx="1"/>
          </p:nvPr>
        </p:nvSpPr>
        <p:spPr>
          <a:xfrm>
            <a:off x="338585" y="2909771"/>
            <a:ext cx="4670097" cy="3320668"/>
          </a:xfrm>
        </p:spPr>
        <p:txBody>
          <a:bodyPr vert="horz" lIns="91440" tIns="45720" rIns="91440" bIns="45720" rtlCol="0" anchor="t">
            <a:normAutofit/>
          </a:bodyPr>
          <a:lstStyle/>
          <a:p>
            <a:pPr marL="0" indent="0">
              <a:buNone/>
            </a:pPr>
            <a:r>
              <a:rPr lang="en-US" sz="5400" dirty="0">
                <a:latin typeface="+mj-lt"/>
                <a:ea typeface="+mj-ea"/>
                <a:cs typeface="Calibri Light"/>
              </a:rPr>
              <a:t>Thanks.</a:t>
            </a:r>
          </a:p>
          <a:p>
            <a:pPr marL="0" indent="0">
              <a:buNone/>
            </a:pPr>
            <a:endParaRPr lang="en-US" sz="2200" dirty="0">
              <a:cs typeface="Calibri"/>
            </a:endParaRPr>
          </a:p>
          <a:p>
            <a:pPr marL="0" indent="0">
              <a:buNone/>
            </a:pPr>
            <a:endParaRPr lang="en-US" sz="2200" dirty="0">
              <a:cs typeface="Calibri"/>
            </a:endParaRPr>
          </a:p>
          <a:p>
            <a:pPr marL="0" indent="0">
              <a:buNone/>
            </a:pPr>
            <a:endParaRPr lang="en-US" sz="2200" dirty="0">
              <a:cs typeface="Calibri"/>
            </a:endParaRPr>
          </a:p>
          <a:p>
            <a:pPr marL="0" indent="0" algn="r">
              <a:buNone/>
            </a:pPr>
            <a:r>
              <a:rPr lang="en-US" sz="3000" dirty="0">
                <a:latin typeface="+mj-lt"/>
                <a:ea typeface="+mj-ea"/>
                <a:cs typeface="Calibri Light"/>
              </a:rPr>
              <a:t>Donna  </a:t>
            </a:r>
          </a:p>
        </p:txBody>
      </p:sp>
      <p:pic>
        <p:nvPicPr>
          <p:cNvPr id="5" name="Picture 4" descr="Pen placed on top of a signature line">
            <a:extLst>
              <a:ext uri="{FF2B5EF4-FFF2-40B4-BE49-F238E27FC236}">
                <a16:creationId xmlns:a16="http://schemas.microsoft.com/office/drawing/2014/main" id="{4C00B6E3-AA70-B9B9-7A5B-C8259487BA3A}"/>
              </a:ext>
            </a:extLst>
          </p:cNvPr>
          <p:cNvPicPr>
            <a:picLocks noChangeAspect="1"/>
          </p:cNvPicPr>
          <p:nvPr/>
        </p:nvPicPr>
        <p:blipFill rotWithShape="1">
          <a:blip r:embed="rId3"/>
          <a:srcRect l="33048" r="-1"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660006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4879EFC-8E62-4E00-973C-C45EE9EC67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EDADDC-DD1D-604E-9DC1-0411E01B8010}"/>
              </a:ext>
            </a:extLst>
          </p:cNvPr>
          <p:cNvSpPr>
            <a:spLocks noGrp="1"/>
          </p:cNvSpPr>
          <p:nvPr>
            <p:ph type="title"/>
          </p:nvPr>
        </p:nvSpPr>
        <p:spPr>
          <a:xfrm>
            <a:off x="638881" y="457200"/>
            <a:ext cx="10909640" cy="1368614"/>
          </a:xfrm>
        </p:spPr>
        <p:txBody>
          <a:bodyPr vert="horz" lIns="91440" tIns="45720" rIns="91440" bIns="45720" rtlCol="0" anchor="ctr">
            <a:normAutofit fontScale="90000"/>
          </a:bodyPr>
          <a:lstStyle/>
          <a:p>
            <a:pPr algn="ctr"/>
            <a:br>
              <a:rPr lang="en-US" altLang="en-US" sz="1700" b="1" dirty="0"/>
            </a:br>
            <a:br>
              <a:rPr lang="en-US" altLang="en-US" sz="1700" b="1" dirty="0"/>
            </a:br>
            <a:r>
              <a:rPr lang="en-US" altLang="en-US" sz="3200" b="1" dirty="0"/>
              <a:t>Research lifecycle - Publishers using ORCID</a:t>
            </a:r>
            <a:br>
              <a:rPr lang="en-US" altLang="en-US" sz="1700" b="1" dirty="0"/>
            </a:br>
            <a:br>
              <a:rPr lang="en-US" altLang="en-US" sz="1700" b="1" dirty="0"/>
            </a:br>
            <a:endParaRPr lang="en-US" sz="1700"/>
          </a:p>
        </p:txBody>
      </p:sp>
      <p:sp>
        <p:nvSpPr>
          <p:cNvPr id="12" name="sketch line">
            <a:extLst>
              <a:ext uri="{FF2B5EF4-FFF2-40B4-BE49-F238E27FC236}">
                <a16:creationId xmlns:a16="http://schemas.microsoft.com/office/drawing/2014/main" id="{D6A9C53F-5F90-40A5-8C85-5412D39C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0080" y="1850683"/>
            <a:ext cx="3291840" cy="18288"/>
          </a:xfrm>
          <a:custGeom>
            <a:avLst/>
            <a:gdLst>
              <a:gd name="connsiteX0" fmla="*/ 0 w 3291840"/>
              <a:gd name="connsiteY0" fmla="*/ 0 h 18288"/>
              <a:gd name="connsiteX1" fmla="*/ 658368 w 3291840"/>
              <a:gd name="connsiteY1" fmla="*/ 0 h 18288"/>
              <a:gd name="connsiteX2" fmla="*/ 1283818 w 3291840"/>
              <a:gd name="connsiteY2" fmla="*/ 0 h 18288"/>
              <a:gd name="connsiteX3" fmla="*/ 1909267 w 3291840"/>
              <a:gd name="connsiteY3" fmla="*/ 0 h 18288"/>
              <a:gd name="connsiteX4" fmla="*/ 2633472 w 3291840"/>
              <a:gd name="connsiteY4" fmla="*/ 0 h 18288"/>
              <a:gd name="connsiteX5" fmla="*/ 3291840 w 3291840"/>
              <a:gd name="connsiteY5" fmla="*/ 0 h 18288"/>
              <a:gd name="connsiteX6" fmla="*/ 3291840 w 3291840"/>
              <a:gd name="connsiteY6" fmla="*/ 18288 h 18288"/>
              <a:gd name="connsiteX7" fmla="*/ 2633472 w 3291840"/>
              <a:gd name="connsiteY7" fmla="*/ 18288 h 18288"/>
              <a:gd name="connsiteX8" fmla="*/ 2073859 w 3291840"/>
              <a:gd name="connsiteY8" fmla="*/ 18288 h 18288"/>
              <a:gd name="connsiteX9" fmla="*/ 1448410 w 3291840"/>
              <a:gd name="connsiteY9" fmla="*/ 18288 h 18288"/>
              <a:gd name="connsiteX10" fmla="*/ 822960 w 3291840"/>
              <a:gd name="connsiteY10" fmla="*/ 18288 h 18288"/>
              <a:gd name="connsiteX11" fmla="*/ 0 w 3291840"/>
              <a:gd name="connsiteY11" fmla="*/ 18288 h 18288"/>
              <a:gd name="connsiteX12" fmla="*/ 0 w 329184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1840" h="18288" fill="none" extrusionOk="0">
                <a:moveTo>
                  <a:pt x="0" y="0"/>
                </a:moveTo>
                <a:cubicBezTo>
                  <a:pt x="173077" y="-20031"/>
                  <a:pt x="443104" y="6424"/>
                  <a:pt x="658368" y="0"/>
                </a:cubicBezTo>
                <a:cubicBezTo>
                  <a:pt x="873632" y="-6424"/>
                  <a:pt x="1034028" y="11764"/>
                  <a:pt x="1283818" y="0"/>
                </a:cubicBezTo>
                <a:cubicBezTo>
                  <a:pt x="1533608" y="-11764"/>
                  <a:pt x="1691227" y="-30112"/>
                  <a:pt x="1909267" y="0"/>
                </a:cubicBezTo>
                <a:cubicBezTo>
                  <a:pt x="2127307" y="30112"/>
                  <a:pt x="2272465" y="-18735"/>
                  <a:pt x="2633472" y="0"/>
                </a:cubicBezTo>
                <a:cubicBezTo>
                  <a:pt x="2994479" y="18735"/>
                  <a:pt x="3023324" y="-32030"/>
                  <a:pt x="3291840" y="0"/>
                </a:cubicBezTo>
                <a:cubicBezTo>
                  <a:pt x="3291406" y="7551"/>
                  <a:pt x="3291373" y="9822"/>
                  <a:pt x="3291840" y="18288"/>
                </a:cubicBezTo>
                <a:cubicBezTo>
                  <a:pt x="3048445" y="38989"/>
                  <a:pt x="2846548" y="-14400"/>
                  <a:pt x="2633472" y="18288"/>
                </a:cubicBezTo>
                <a:cubicBezTo>
                  <a:pt x="2420396" y="50976"/>
                  <a:pt x="2304099" y="6336"/>
                  <a:pt x="2073859" y="18288"/>
                </a:cubicBezTo>
                <a:cubicBezTo>
                  <a:pt x="1843619" y="30240"/>
                  <a:pt x="1706926" y="10778"/>
                  <a:pt x="1448410" y="18288"/>
                </a:cubicBezTo>
                <a:cubicBezTo>
                  <a:pt x="1189894" y="25798"/>
                  <a:pt x="1002278" y="8992"/>
                  <a:pt x="822960" y="18288"/>
                </a:cubicBezTo>
                <a:cubicBezTo>
                  <a:pt x="643642" y="27585"/>
                  <a:pt x="307039" y="38051"/>
                  <a:pt x="0" y="18288"/>
                </a:cubicBezTo>
                <a:cubicBezTo>
                  <a:pt x="60" y="11696"/>
                  <a:pt x="66" y="3758"/>
                  <a:pt x="0" y="0"/>
                </a:cubicBezTo>
                <a:close/>
              </a:path>
              <a:path w="3291840" h="18288" stroke="0" extrusionOk="0">
                <a:moveTo>
                  <a:pt x="0" y="0"/>
                </a:moveTo>
                <a:cubicBezTo>
                  <a:pt x="195850" y="28018"/>
                  <a:pt x="434891" y="17390"/>
                  <a:pt x="592531" y="0"/>
                </a:cubicBezTo>
                <a:cubicBezTo>
                  <a:pt x="750171" y="-17390"/>
                  <a:pt x="1018709" y="32200"/>
                  <a:pt x="1316736" y="0"/>
                </a:cubicBezTo>
                <a:cubicBezTo>
                  <a:pt x="1614763" y="-32200"/>
                  <a:pt x="1696480" y="-11367"/>
                  <a:pt x="1876349" y="0"/>
                </a:cubicBezTo>
                <a:cubicBezTo>
                  <a:pt x="2056218" y="11367"/>
                  <a:pt x="2193364" y="13433"/>
                  <a:pt x="2435962" y="0"/>
                </a:cubicBezTo>
                <a:cubicBezTo>
                  <a:pt x="2678560" y="-13433"/>
                  <a:pt x="3010901" y="-42367"/>
                  <a:pt x="3291840" y="0"/>
                </a:cubicBezTo>
                <a:cubicBezTo>
                  <a:pt x="3291758" y="4406"/>
                  <a:pt x="3291751" y="9982"/>
                  <a:pt x="3291840" y="18288"/>
                </a:cubicBezTo>
                <a:cubicBezTo>
                  <a:pt x="3108993" y="14228"/>
                  <a:pt x="2952658" y="46900"/>
                  <a:pt x="2666390" y="18288"/>
                </a:cubicBezTo>
                <a:cubicBezTo>
                  <a:pt x="2380122" y="-10324"/>
                  <a:pt x="2263855" y="41055"/>
                  <a:pt x="2040941" y="18288"/>
                </a:cubicBezTo>
                <a:cubicBezTo>
                  <a:pt x="1818027" y="-4479"/>
                  <a:pt x="1675097" y="6509"/>
                  <a:pt x="1415491" y="18288"/>
                </a:cubicBezTo>
                <a:cubicBezTo>
                  <a:pt x="1155885" y="30068"/>
                  <a:pt x="852976" y="36210"/>
                  <a:pt x="691286" y="18288"/>
                </a:cubicBezTo>
                <a:cubicBezTo>
                  <a:pt x="529596" y="366"/>
                  <a:pt x="187183" y="13912"/>
                  <a:pt x="0" y="18288"/>
                </a:cubicBezTo>
                <a:cubicBezTo>
                  <a:pt x="189" y="14288"/>
                  <a:pt x="-703" y="374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8">
            <a:hlinkClick r:id="rId2"/>
            <a:extLst>
              <a:ext uri="{FF2B5EF4-FFF2-40B4-BE49-F238E27FC236}">
                <a16:creationId xmlns:a16="http://schemas.microsoft.com/office/drawing/2014/main" id="{3A051161-4837-3121-B416-B71B8A0D93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263793" y="2642616"/>
            <a:ext cx="3830389" cy="366222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Content Placeholder 7">
            <a:hlinkClick r:id="rId4"/>
            <a:extLst>
              <a:ext uri="{FF2B5EF4-FFF2-40B4-BE49-F238E27FC236}">
                <a16:creationId xmlns:a16="http://schemas.microsoft.com/office/drawing/2014/main" id="{F64C8D34-5850-A5C3-8917-862DD5988E29}"/>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bwMode="auto">
          <a:xfrm>
            <a:off x="6548963" y="2642616"/>
            <a:ext cx="5025482" cy="36057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1033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30">
            <a:extLst>
              <a:ext uri="{FF2B5EF4-FFF2-40B4-BE49-F238E27FC236}">
                <a16:creationId xmlns:a16="http://schemas.microsoft.com/office/drawing/2014/main" id="{AC17DE74-01C9-4859-B65A-85CF999E85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068C0432-0E90-4CC1-8CD3-D44A90DF07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347414"/>
          </a:xfrm>
          <a:custGeom>
            <a:avLst/>
            <a:gdLst>
              <a:gd name="connsiteX0" fmla="*/ 0 w 12192000"/>
              <a:gd name="connsiteY0" fmla="*/ 0 h 2347414"/>
              <a:gd name="connsiteX1" fmla="*/ 12192000 w 12192000"/>
              <a:gd name="connsiteY1" fmla="*/ 0 h 2347414"/>
              <a:gd name="connsiteX2" fmla="*/ 12192000 w 12192000"/>
              <a:gd name="connsiteY2" fmla="*/ 1736458 h 2347414"/>
              <a:gd name="connsiteX3" fmla="*/ 11967601 w 12192000"/>
              <a:gd name="connsiteY3" fmla="*/ 1784034 h 2347414"/>
              <a:gd name="connsiteX4" fmla="*/ 10829000 w 12192000"/>
              <a:gd name="connsiteY4" fmla="*/ 1983294 h 2347414"/>
              <a:gd name="connsiteX5" fmla="*/ 10743779 w 12192000"/>
              <a:gd name="connsiteY5" fmla="*/ 1996027 h 2347414"/>
              <a:gd name="connsiteX6" fmla="*/ 10829254 w 12192000"/>
              <a:gd name="connsiteY6" fmla="*/ 1987751 h 2347414"/>
              <a:gd name="connsiteX7" fmla="*/ 10847162 w 12192000"/>
              <a:gd name="connsiteY7" fmla="*/ 1988388 h 2347414"/>
              <a:gd name="connsiteX8" fmla="*/ 11575155 w 12192000"/>
              <a:gd name="connsiteY8" fmla="*/ 1921415 h 2347414"/>
              <a:gd name="connsiteX9" fmla="*/ 12192000 w 12192000"/>
              <a:gd name="connsiteY9" fmla="*/ 1851213 h 2347414"/>
              <a:gd name="connsiteX10" fmla="*/ 12192000 w 12192000"/>
              <a:gd name="connsiteY10" fmla="*/ 1907356 h 2347414"/>
              <a:gd name="connsiteX11" fmla="*/ 12035532 w 12192000"/>
              <a:gd name="connsiteY11" fmla="*/ 1927033 h 2347414"/>
              <a:gd name="connsiteX12" fmla="*/ 11576932 w 12192000"/>
              <a:gd name="connsiteY12" fmla="*/ 1976291 h 2347414"/>
              <a:gd name="connsiteX13" fmla="*/ 10627316 w 12192000"/>
              <a:gd name="connsiteY13" fmla="*/ 2061470 h 2347414"/>
              <a:gd name="connsiteX14" fmla="*/ 9804196 w 12192000"/>
              <a:gd name="connsiteY14" fmla="*/ 2123478 h 2347414"/>
              <a:gd name="connsiteX15" fmla="*/ 9243851 w 12192000"/>
              <a:gd name="connsiteY15" fmla="*/ 2180008 h 2347414"/>
              <a:gd name="connsiteX16" fmla="*/ 8731259 w 12192000"/>
              <a:gd name="connsiteY16" fmla="*/ 2225081 h 2347414"/>
              <a:gd name="connsiteX17" fmla="*/ 8065752 w 12192000"/>
              <a:gd name="connsiteY17" fmla="*/ 2271681 h 2347414"/>
              <a:gd name="connsiteX18" fmla="*/ 7658065 w 12192000"/>
              <a:gd name="connsiteY18" fmla="*/ 2292562 h 2347414"/>
              <a:gd name="connsiteX19" fmla="*/ 6531024 w 12192000"/>
              <a:gd name="connsiteY19" fmla="*/ 2324138 h 2347414"/>
              <a:gd name="connsiteX20" fmla="*/ 6178331 w 12192000"/>
              <a:gd name="connsiteY20" fmla="*/ 2345655 h 2347414"/>
              <a:gd name="connsiteX21" fmla="*/ 5977282 w 12192000"/>
              <a:gd name="connsiteY21" fmla="*/ 2344127 h 2347414"/>
              <a:gd name="connsiteX22" fmla="*/ 5367658 w 12192000"/>
              <a:gd name="connsiteY22" fmla="*/ 2329230 h 2347414"/>
              <a:gd name="connsiteX23" fmla="*/ 4387306 w 12192000"/>
              <a:gd name="connsiteY23" fmla="*/ 2288614 h 2347414"/>
              <a:gd name="connsiteX24" fmla="*/ 4180287 w 12192000"/>
              <a:gd name="connsiteY24" fmla="*/ 2280211 h 2347414"/>
              <a:gd name="connsiteX25" fmla="*/ 3842199 w 12192000"/>
              <a:gd name="connsiteY25" fmla="*/ 2257039 h 2347414"/>
              <a:gd name="connsiteX26" fmla="*/ 3730309 w 12192000"/>
              <a:gd name="connsiteY26" fmla="*/ 2251182 h 2347414"/>
              <a:gd name="connsiteX27" fmla="*/ 3425496 w 12192000"/>
              <a:gd name="connsiteY27" fmla="*/ 2231320 h 2347414"/>
              <a:gd name="connsiteX28" fmla="*/ 3076106 w 12192000"/>
              <a:gd name="connsiteY28" fmla="*/ 2201781 h 2347414"/>
              <a:gd name="connsiteX29" fmla="*/ 2819682 w 12192000"/>
              <a:gd name="connsiteY29" fmla="*/ 2182427 h 2347414"/>
              <a:gd name="connsiteX30" fmla="*/ 2525539 w 12192000"/>
              <a:gd name="connsiteY30" fmla="*/ 2152888 h 2347414"/>
              <a:gd name="connsiteX31" fmla="*/ 2311915 w 12192000"/>
              <a:gd name="connsiteY31" fmla="*/ 2133536 h 2347414"/>
              <a:gd name="connsiteX32" fmla="*/ 2054223 w 12192000"/>
              <a:gd name="connsiteY32" fmla="*/ 2104760 h 2347414"/>
              <a:gd name="connsiteX33" fmla="*/ 1865367 w 12192000"/>
              <a:gd name="connsiteY33" fmla="*/ 2084770 h 2347414"/>
              <a:gd name="connsiteX34" fmla="*/ 1629263 w 12192000"/>
              <a:gd name="connsiteY34" fmla="*/ 2055996 h 2347414"/>
              <a:gd name="connsiteX35" fmla="*/ 1458823 w 12192000"/>
              <a:gd name="connsiteY35" fmla="*/ 2035751 h 2347414"/>
              <a:gd name="connsiteX36" fmla="*/ 1241390 w 12192000"/>
              <a:gd name="connsiteY36" fmla="*/ 2007103 h 2347414"/>
              <a:gd name="connsiteX37" fmla="*/ 1047453 w 12192000"/>
              <a:gd name="connsiteY37" fmla="*/ 1980748 h 2347414"/>
              <a:gd name="connsiteX38" fmla="*/ 814907 w 12192000"/>
              <a:gd name="connsiteY38" fmla="*/ 1949045 h 2347414"/>
              <a:gd name="connsiteX39" fmla="*/ 592649 w 12192000"/>
              <a:gd name="connsiteY39" fmla="*/ 1913776 h 2347414"/>
              <a:gd name="connsiteX40" fmla="*/ 343591 w 12192000"/>
              <a:gd name="connsiteY40" fmla="*/ 1872650 h 2347414"/>
              <a:gd name="connsiteX41" fmla="*/ 35731 w 12192000"/>
              <a:gd name="connsiteY41" fmla="*/ 1821722 h 2347414"/>
              <a:gd name="connsiteX42" fmla="*/ 0 w 12192000"/>
              <a:gd name="connsiteY42" fmla="*/ 1814848 h 2347414"/>
              <a:gd name="connsiteX43" fmla="*/ 0 w 12192000"/>
              <a:gd name="connsiteY43" fmla="*/ 1758489 h 2347414"/>
              <a:gd name="connsiteX44" fmla="*/ 274248 w 12192000"/>
              <a:gd name="connsiteY44" fmla="*/ 1808735 h 2347414"/>
              <a:gd name="connsiteX45" fmla="*/ 498157 w 12192000"/>
              <a:gd name="connsiteY45" fmla="*/ 1846167 h 2347414"/>
              <a:gd name="connsiteX46" fmla="*/ 722828 w 12192000"/>
              <a:gd name="connsiteY46" fmla="*/ 1878635 h 2347414"/>
              <a:gd name="connsiteX47" fmla="*/ 949913 w 12192000"/>
              <a:gd name="connsiteY47" fmla="*/ 1912375 h 2347414"/>
              <a:gd name="connsiteX48" fmla="*/ 1195414 w 12192000"/>
              <a:gd name="connsiteY48" fmla="*/ 1947516 h 2347414"/>
              <a:gd name="connsiteX49" fmla="*/ 1342867 w 12192000"/>
              <a:gd name="connsiteY49" fmla="*/ 1968397 h 2347414"/>
              <a:gd name="connsiteX50" fmla="*/ 1518007 w 12192000"/>
              <a:gd name="connsiteY50" fmla="*/ 1988006 h 2347414"/>
              <a:gd name="connsiteX51" fmla="*/ 1701403 w 12192000"/>
              <a:gd name="connsiteY51" fmla="*/ 2010669 h 2347414"/>
              <a:gd name="connsiteX52" fmla="*/ 1879210 w 12192000"/>
              <a:gd name="connsiteY52" fmla="*/ 2031167 h 2347414"/>
              <a:gd name="connsiteX53" fmla="*/ 2068702 w 12192000"/>
              <a:gd name="connsiteY53" fmla="*/ 2052940 h 2347414"/>
              <a:gd name="connsiteX54" fmla="*/ 2212090 w 12192000"/>
              <a:gd name="connsiteY54" fmla="*/ 2067583 h 2347414"/>
              <a:gd name="connsiteX55" fmla="*/ 2416949 w 12192000"/>
              <a:gd name="connsiteY55" fmla="*/ 2089609 h 2347414"/>
              <a:gd name="connsiteX56" fmla="*/ 2582055 w 12192000"/>
              <a:gd name="connsiteY56" fmla="*/ 2105397 h 2347414"/>
              <a:gd name="connsiteX57" fmla="*/ 2802282 w 12192000"/>
              <a:gd name="connsiteY57" fmla="*/ 2126405 h 2347414"/>
              <a:gd name="connsiteX58" fmla="*/ 2984916 w 12192000"/>
              <a:gd name="connsiteY58" fmla="*/ 2141684 h 2347414"/>
              <a:gd name="connsiteX59" fmla="*/ 3241847 w 12192000"/>
              <a:gd name="connsiteY59" fmla="*/ 2164094 h 2347414"/>
              <a:gd name="connsiteX60" fmla="*/ 3439848 w 12192000"/>
              <a:gd name="connsiteY60" fmla="*/ 2176826 h 2347414"/>
              <a:gd name="connsiteX61" fmla="*/ 3658678 w 12192000"/>
              <a:gd name="connsiteY61" fmla="*/ 2194523 h 2347414"/>
              <a:gd name="connsiteX62" fmla="*/ 3881317 w 12192000"/>
              <a:gd name="connsiteY62" fmla="*/ 2206491 h 2347414"/>
              <a:gd name="connsiteX63" fmla="*/ 4148916 w 12192000"/>
              <a:gd name="connsiteY63" fmla="*/ 2225081 h 2347414"/>
              <a:gd name="connsiteX64" fmla="*/ 4468337 w 12192000"/>
              <a:gd name="connsiteY64" fmla="*/ 2237813 h 2347414"/>
              <a:gd name="connsiteX65" fmla="*/ 4605375 w 12192000"/>
              <a:gd name="connsiteY65" fmla="*/ 2240232 h 2347414"/>
              <a:gd name="connsiteX66" fmla="*/ 4527647 w 12192000"/>
              <a:gd name="connsiteY66" fmla="*/ 2236412 h 2347414"/>
              <a:gd name="connsiteX67" fmla="*/ 4175589 w 12192000"/>
              <a:gd name="connsiteY67" fmla="*/ 2212985 h 2347414"/>
              <a:gd name="connsiteX68" fmla="*/ 3988255 w 12192000"/>
              <a:gd name="connsiteY68" fmla="*/ 2200253 h 2347414"/>
              <a:gd name="connsiteX69" fmla="*/ 3686492 w 12192000"/>
              <a:gd name="connsiteY69" fmla="*/ 2176062 h 2347414"/>
              <a:gd name="connsiteX70" fmla="*/ 3517320 w 12192000"/>
              <a:gd name="connsiteY70" fmla="*/ 2163330 h 2347414"/>
              <a:gd name="connsiteX71" fmla="*/ 3258357 w 12192000"/>
              <a:gd name="connsiteY71" fmla="*/ 2139519 h 2347414"/>
              <a:gd name="connsiteX72" fmla="*/ 3101506 w 12192000"/>
              <a:gd name="connsiteY72" fmla="*/ 2126787 h 2347414"/>
              <a:gd name="connsiteX73" fmla="*/ 2809395 w 12192000"/>
              <a:gd name="connsiteY73" fmla="*/ 2097502 h 2347414"/>
              <a:gd name="connsiteX74" fmla="*/ 2598566 w 12192000"/>
              <a:gd name="connsiteY74" fmla="*/ 2078532 h 2347414"/>
              <a:gd name="connsiteX75" fmla="*/ 2337444 w 12192000"/>
              <a:gd name="connsiteY75" fmla="*/ 2048611 h 2347414"/>
              <a:gd name="connsiteX76" fmla="*/ 2091054 w 12192000"/>
              <a:gd name="connsiteY76" fmla="*/ 2023146 h 2347414"/>
              <a:gd name="connsiteX77" fmla="*/ 1755761 w 12192000"/>
              <a:gd name="connsiteY77" fmla="*/ 1981384 h 2347414"/>
              <a:gd name="connsiteX78" fmla="*/ 1441169 w 12192000"/>
              <a:gd name="connsiteY78" fmla="*/ 1943824 h 2347414"/>
              <a:gd name="connsiteX79" fmla="*/ 1017607 w 12192000"/>
              <a:gd name="connsiteY79" fmla="*/ 1883345 h 2347414"/>
              <a:gd name="connsiteX80" fmla="*/ 594427 w 12192000"/>
              <a:gd name="connsiteY80" fmla="*/ 1821849 h 2347414"/>
              <a:gd name="connsiteX81" fmla="*/ 200711 w 12192000"/>
              <a:gd name="connsiteY81" fmla="*/ 1755132 h 2347414"/>
              <a:gd name="connsiteX82" fmla="*/ 0 w 12192000"/>
              <a:gd name="connsiteY82" fmla="*/ 1718743 h 23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2347414">
                <a:moveTo>
                  <a:pt x="0" y="0"/>
                </a:moveTo>
                <a:lnTo>
                  <a:pt x="12192000" y="0"/>
                </a:lnTo>
                <a:lnTo>
                  <a:pt x="12192000" y="1736458"/>
                </a:lnTo>
                <a:lnTo>
                  <a:pt x="11967601" y="1784034"/>
                </a:lnTo>
                <a:cubicBezTo>
                  <a:pt x="11589888" y="1859409"/>
                  <a:pt x="11209762" y="1923961"/>
                  <a:pt x="10829000" y="1983294"/>
                </a:cubicBezTo>
                <a:lnTo>
                  <a:pt x="10743779" y="1996027"/>
                </a:lnTo>
                <a:cubicBezTo>
                  <a:pt x="10772495" y="1996778"/>
                  <a:pt x="10801211" y="1993989"/>
                  <a:pt x="10829254" y="1987751"/>
                </a:cubicBezTo>
                <a:cubicBezTo>
                  <a:pt x="10835198" y="1988337"/>
                  <a:pt x="10841180" y="1988553"/>
                  <a:pt x="10847162" y="1988388"/>
                </a:cubicBezTo>
                <a:cubicBezTo>
                  <a:pt x="11090123" y="1968907"/>
                  <a:pt x="11332703" y="1945734"/>
                  <a:pt x="11575155" y="1921415"/>
                </a:cubicBezTo>
                <a:lnTo>
                  <a:pt x="12192000" y="1851213"/>
                </a:lnTo>
                <a:lnTo>
                  <a:pt x="12192000" y="1907356"/>
                </a:lnTo>
                <a:lnTo>
                  <a:pt x="12035532" y="1927033"/>
                </a:lnTo>
                <a:cubicBezTo>
                  <a:pt x="11882793" y="1944747"/>
                  <a:pt x="11729910" y="1961077"/>
                  <a:pt x="11576932" y="1976291"/>
                </a:cubicBezTo>
                <a:cubicBezTo>
                  <a:pt x="11260690" y="2008122"/>
                  <a:pt x="10944193" y="2037279"/>
                  <a:pt x="10627316" y="2061470"/>
                </a:cubicBezTo>
                <a:cubicBezTo>
                  <a:pt x="10352985" y="2082351"/>
                  <a:pt x="10078401" y="2100431"/>
                  <a:pt x="9804196" y="2123478"/>
                </a:cubicBezTo>
                <a:cubicBezTo>
                  <a:pt x="9617118" y="2139137"/>
                  <a:pt x="9430675" y="2161674"/>
                  <a:pt x="9243851" y="2180008"/>
                </a:cubicBezTo>
                <a:cubicBezTo>
                  <a:pt x="9073157" y="2196433"/>
                  <a:pt x="8902207" y="2211966"/>
                  <a:pt x="8731259" y="2225081"/>
                </a:cubicBezTo>
                <a:cubicBezTo>
                  <a:pt x="8509507" y="2242054"/>
                  <a:pt x="8287667" y="2257586"/>
                  <a:pt x="8065752" y="2271681"/>
                </a:cubicBezTo>
                <a:cubicBezTo>
                  <a:pt x="7929984" y="2280466"/>
                  <a:pt x="7793961" y="2285814"/>
                  <a:pt x="7658065" y="2292562"/>
                </a:cubicBezTo>
                <a:cubicBezTo>
                  <a:pt x="7282640" y="2311661"/>
                  <a:pt x="6906704" y="2314208"/>
                  <a:pt x="6531024" y="2324138"/>
                </a:cubicBezTo>
                <a:cubicBezTo>
                  <a:pt x="6413417" y="2327322"/>
                  <a:pt x="6295937" y="2338399"/>
                  <a:pt x="6178331" y="2345655"/>
                </a:cubicBezTo>
                <a:cubicBezTo>
                  <a:pt x="6111271" y="2349730"/>
                  <a:pt x="6044342" y="2345655"/>
                  <a:pt x="5977282" y="2344127"/>
                </a:cubicBezTo>
                <a:cubicBezTo>
                  <a:pt x="5774073" y="2338908"/>
                  <a:pt x="5570866" y="2334960"/>
                  <a:pt x="5367658" y="2329230"/>
                </a:cubicBezTo>
                <a:cubicBezTo>
                  <a:pt x="5040746" y="2319809"/>
                  <a:pt x="4713963" y="2306274"/>
                  <a:pt x="4387306" y="2288614"/>
                </a:cubicBezTo>
                <a:cubicBezTo>
                  <a:pt x="4318342" y="2284796"/>
                  <a:pt x="4249253" y="2284286"/>
                  <a:pt x="4180287" y="2280211"/>
                </a:cubicBezTo>
                <a:cubicBezTo>
                  <a:pt x="4067634" y="2273463"/>
                  <a:pt x="3954980" y="2265060"/>
                  <a:pt x="3842199" y="2257039"/>
                </a:cubicBezTo>
                <a:cubicBezTo>
                  <a:pt x="3804988" y="2254492"/>
                  <a:pt x="3767648" y="2254620"/>
                  <a:pt x="3730309" y="2251182"/>
                </a:cubicBezTo>
                <a:cubicBezTo>
                  <a:pt x="3628704" y="2242142"/>
                  <a:pt x="3527101" y="2238449"/>
                  <a:pt x="3425496" y="2231320"/>
                </a:cubicBezTo>
                <a:cubicBezTo>
                  <a:pt x="3308906" y="2222534"/>
                  <a:pt x="3192569" y="2211330"/>
                  <a:pt x="3076106" y="2201781"/>
                </a:cubicBezTo>
                <a:cubicBezTo>
                  <a:pt x="2990757" y="2194905"/>
                  <a:pt x="2905157" y="2190067"/>
                  <a:pt x="2819682" y="2182427"/>
                </a:cubicBezTo>
                <a:cubicBezTo>
                  <a:pt x="2721507" y="2173515"/>
                  <a:pt x="2623586" y="2162311"/>
                  <a:pt x="2525539" y="2152888"/>
                </a:cubicBezTo>
                <a:cubicBezTo>
                  <a:pt x="2454289" y="2145886"/>
                  <a:pt x="2383038" y="2140920"/>
                  <a:pt x="2311915" y="2133536"/>
                </a:cubicBezTo>
                <a:cubicBezTo>
                  <a:pt x="2225933" y="2124749"/>
                  <a:pt x="2140204" y="2114182"/>
                  <a:pt x="2054223" y="2104760"/>
                </a:cubicBezTo>
                <a:cubicBezTo>
                  <a:pt x="1990719" y="2097758"/>
                  <a:pt x="1928233" y="2092028"/>
                  <a:pt x="1865367" y="2084770"/>
                </a:cubicBezTo>
                <a:cubicBezTo>
                  <a:pt x="1786622" y="2075603"/>
                  <a:pt x="1708006" y="2065545"/>
                  <a:pt x="1629263" y="2055996"/>
                </a:cubicBezTo>
                <a:cubicBezTo>
                  <a:pt x="1572492" y="2049120"/>
                  <a:pt x="1515595" y="2043264"/>
                  <a:pt x="1458823" y="2035751"/>
                </a:cubicBezTo>
                <a:cubicBezTo>
                  <a:pt x="1386303" y="2026585"/>
                  <a:pt x="1313784" y="2016780"/>
                  <a:pt x="1241390" y="2007103"/>
                </a:cubicBezTo>
                <a:lnTo>
                  <a:pt x="1047453" y="1980748"/>
                </a:lnTo>
                <a:cubicBezTo>
                  <a:pt x="969980" y="1970180"/>
                  <a:pt x="892254" y="1960377"/>
                  <a:pt x="814907" y="1949045"/>
                </a:cubicBezTo>
                <a:cubicBezTo>
                  <a:pt x="740609" y="1938094"/>
                  <a:pt x="666692" y="1925744"/>
                  <a:pt x="592649" y="1913776"/>
                </a:cubicBezTo>
                <a:cubicBezTo>
                  <a:pt x="509587" y="1900280"/>
                  <a:pt x="426653" y="1886274"/>
                  <a:pt x="343591" y="1872650"/>
                </a:cubicBezTo>
                <a:cubicBezTo>
                  <a:pt x="240972" y="1855716"/>
                  <a:pt x="138225" y="1839673"/>
                  <a:pt x="35731" y="1821722"/>
                </a:cubicBezTo>
                <a:lnTo>
                  <a:pt x="0" y="1814848"/>
                </a:lnTo>
                <a:lnTo>
                  <a:pt x="0" y="1758489"/>
                </a:lnTo>
                <a:lnTo>
                  <a:pt x="274248" y="1808735"/>
                </a:lnTo>
                <a:cubicBezTo>
                  <a:pt x="348926" y="1821467"/>
                  <a:pt x="423604" y="1832798"/>
                  <a:pt x="498157" y="1846167"/>
                </a:cubicBezTo>
                <a:cubicBezTo>
                  <a:pt x="572708" y="1859536"/>
                  <a:pt x="647896" y="1867813"/>
                  <a:pt x="722828" y="1878635"/>
                </a:cubicBezTo>
                <a:cubicBezTo>
                  <a:pt x="797762" y="1889457"/>
                  <a:pt x="874219" y="1901426"/>
                  <a:pt x="949913" y="1912375"/>
                </a:cubicBezTo>
                <a:cubicBezTo>
                  <a:pt x="1031704" y="1924343"/>
                  <a:pt x="1113496" y="1935802"/>
                  <a:pt x="1195414" y="1947516"/>
                </a:cubicBezTo>
                <a:cubicBezTo>
                  <a:pt x="1244566" y="1954519"/>
                  <a:pt x="1293589" y="1962285"/>
                  <a:pt x="1342867" y="1968397"/>
                </a:cubicBezTo>
                <a:cubicBezTo>
                  <a:pt x="1401162" y="1975656"/>
                  <a:pt x="1459712" y="1981130"/>
                  <a:pt x="1518007" y="1988006"/>
                </a:cubicBezTo>
                <a:cubicBezTo>
                  <a:pt x="1579224" y="1995263"/>
                  <a:pt x="1640186" y="2003411"/>
                  <a:pt x="1701403" y="2010669"/>
                </a:cubicBezTo>
                <a:cubicBezTo>
                  <a:pt x="1762618" y="2017926"/>
                  <a:pt x="1820279" y="2024292"/>
                  <a:pt x="1879210" y="2031167"/>
                </a:cubicBezTo>
                <a:cubicBezTo>
                  <a:pt x="1942712" y="2038425"/>
                  <a:pt x="2006214" y="2046064"/>
                  <a:pt x="2068702" y="2052940"/>
                </a:cubicBezTo>
                <a:cubicBezTo>
                  <a:pt x="2116455" y="2058160"/>
                  <a:pt x="2164335" y="2062362"/>
                  <a:pt x="2212090" y="2067583"/>
                </a:cubicBezTo>
                <a:cubicBezTo>
                  <a:pt x="2280419" y="2074967"/>
                  <a:pt x="2348493" y="2085152"/>
                  <a:pt x="2416949" y="2089609"/>
                </a:cubicBezTo>
                <a:cubicBezTo>
                  <a:pt x="2472070" y="2093302"/>
                  <a:pt x="2526936" y="2099540"/>
                  <a:pt x="2582055" y="2105397"/>
                </a:cubicBezTo>
                <a:cubicBezTo>
                  <a:pt x="2655337" y="2113291"/>
                  <a:pt x="2729001" y="2119785"/>
                  <a:pt x="2802282" y="2126405"/>
                </a:cubicBezTo>
                <a:cubicBezTo>
                  <a:pt x="2862991" y="2131753"/>
                  <a:pt x="2924207" y="2136337"/>
                  <a:pt x="2984916" y="2141684"/>
                </a:cubicBezTo>
                <a:cubicBezTo>
                  <a:pt x="3070516" y="2149324"/>
                  <a:pt x="3156373" y="2152888"/>
                  <a:pt x="3241847" y="2164094"/>
                </a:cubicBezTo>
                <a:cubicBezTo>
                  <a:pt x="3307255" y="2172624"/>
                  <a:pt x="3374060" y="2169822"/>
                  <a:pt x="3439848" y="2176826"/>
                </a:cubicBezTo>
                <a:cubicBezTo>
                  <a:pt x="3512622" y="2184592"/>
                  <a:pt x="3585777" y="2186247"/>
                  <a:pt x="3658678" y="2194523"/>
                </a:cubicBezTo>
                <a:cubicBezTo>
                  <a:pt x="3731578" y="2202800"/>
                  <a:pt x="3807019" y="2201781"/>
                  <a:pt x="3881317" y="2206491"/>
                </a:cubicBezTo>
                <a:cubicBezTo>
                  <a:pt x="3970222" y="2212094"/>
                  <a:pt x="4059124" y="2223552"/>
                  <a:pt x="4148916" y="2225081"/>
                </a:cubicBezTo>
                <a:cubicBezTo>
                  <a:pt x="4255600" y="2226736"/>
                  <a:pt x="4361779" y="2236539"/>
                  <a:pt x="4468337" y="2237813"/>
                </a:cubicBezTo>
                <a:cubicBezTo>
                  <a:pt x="4511390" y="2238577"/>
                  <a:pt x="4554190" y="2246852"/>
                  <a:pt x="4605375" y="2240232"/>
                </a:cubicBezTo>
                <a:cubicBezTo>
                  <a:pt x="4574131" y="2238704"/>
                  <a:pt x="4550762" y="2237940"/>
                  <a:pt x="4527647" y="2236412"/>
                </a:cubicBezTo>
                <a:cubicBezTo>
                  <a:pt x="4410293" y="2228773"/>
                  <a:pt x="4292942" y="2220751"/>
                  <a:pt x="4175589" y="2212985"/>
                </a:cubicBezTo>
                <a:cubicBezTo>
                  <a:pt x="4113101" y="2208783"/>
                  <a:pt x="4050615" y="2205219"/>
                  <a:pt x="3988255" y="2200253"/>
                </a:cubicBezTo>
                <a:cubicBezTo>
                  <a:pt x="3887668" y="2192487"/>
                  <a:pt x="3787079" y="2184082"/>
                  <a:pt x="3686492" y="2176062"/>
                </a:cubicBezTo>
                <a:cubicBezTo>
                  <a:pt x="3630102" y="2171605"/>
                  <a:pt x="3573711" y="2168040"/>
                  <a:pt x="3517320" y="2163330"/>
                </a:cubicBezTo>
                <a:cubicBezTo>
                  <a:pt x="3430958" y="2155689"/>
                  <a:pt x="3344721" y="2147159"/>
                  <a:pt x="3258357" y="2139519"/>
                </a:cubicBezTo>
                <a:cubicBezTo>
                  <a:pt x="3206031" y="2134809"/>
                  <a:pt x="3153705" y="2131371"/>
                  <a:pt x="3101506" y="2126787"/>
                </a:cubicBezTo>
                <a:cubicBezTo>
                  <a:pt x="3004220" y="2117365"/>
                  <a:pt x="2907061" y="2106798"/>
                  <a:pt x="2809395" y="2097502"/>
                </a:cubicBezTo>
                <a:cubicBezTo>
                  <a:pt x="2739161" y="2090628"/>
                  <a:pt x="2668673" y="2085916"/>
                  <a:pt x="2598566" y="2078532"/>
                </a:cubicBezTo>
                <a:cubicBezTo>
                  <a:pt x="2511441" y="2069365"/>
                  <a:pt x="2424569" y="2058160"/>
                  <a:pt x="2337444" y="2048611"/>
                </a:cubicBezTo>
                <a:cubicBezTo>
                  <a:pt x="2255399" y="2039699"/>
                  <a:pt x="2173099" y="2032950"/>
                  <a:pt x="2091054" y="2023146"/>
                </a:cubicBezTo>
                <a:cubicBezTo>
                  <a:pt x="1979162" y="2010414"/>
                  <a:pt x="1867524" y="1995008"/>
                  <a:pt x="1755761" y="1981384"/>
                </a:cubicBezTo>
                <a:cubicBezTo>
                  <a:pt x="1650982" y="1968652"/>
                  <a:pt x="1545821" y="1957830"/>
                  <a:pt x="1441169" y="1943824"/>
                </a:cubicBezTo>
                <a:cubicBezTo>
                  <a:pt x="1299813" y="1924980"/>
                  <a:pt x="1158837" y="1903718"/>
                  <a:pt x="1017607" y="1883345"/>
                </a:cubicBezTo>
                <a:cubicBezTo>
                  <a:pt x="876378" y="1862974"/>
                  <a:pt x="735402" y="1844003"/>
                  <a:pt x="594427" y="1821849"/>
                </a:cubicBezTo>
                <a:cubicBezTo>
                  <a:pt x="462850" y="1801222"/>
                  <a:pt x="331526" y="1778304"/>
                  <a:pt x="200711" y="1755132"/>
                </a:cubicBezTo>
                <a:lnTo>
                  <a:pt x="0" y="1718743"/>
                </a:lnTo>
                <a:close/>
              </a:path>
            </a:pathLst>
          </a:custGeom>
          <a:solidFill>
            <a:schemeClr val="accent2"/>
          </a:solidFill>
          <a:ln w="8199" cap="flat">
            <a:noFill/>
            <a:prstDash val="solid"/>
            <a:miter/>
          </a:ln>
        </p:spPr>
        <p:txBody>
          <a:bodyPr rtlCol="0" anchor="ctr"/>
          <a:lstStyle/>
          <a:p>
            <a:endParaRPr lang="en-US"/>
          </a:p>
        </p:txBody>
      </p:sp>
      <p:sp>
        <p:nvSpPr>
          <p:cNvPr id="2" name="Title 1"/>
          <p:cNvSpPr>
            <a:spLocks noGrp="1"/>
          </p:cNvSpPr>
          <p:nvPr>
            <p:ph type="title"/>
          </p:nvPr>
        </p:nvSpPr>
        <p:spPr>
          <a:xfrm>
            <a:off x="263106" y="401221"/>
            <a:ext cx="11536392" cy="1319311"/>
          </a:xfrm>
        </p:spPr>
        <p:txBody>
          <a:bodyPr>
            <a:normAutofit fontScale="90000"/>
          </a:bodyPr>
          <a:lstStyle/>
          <a:p>
            <a:r>
              <a:rPr lang="en-IE" sz="5400" b="1" dirty="0">
                <a:solidFill>
                  <a:srgbClr val="FFFFFF"/>
                </a:solidFill>
              </a:rPr>
              <a:t>Promote your articles  - </a:t>
            </a:r>
            <a:r>
              <a:rPr lang="en-GB" sz="5400" b="1" dirty="0">
                <a:solidFill>
                  <a:srgbClr val="FFFFFF"/>
                </a:solidFill>
              </a:rPr>
              <a:t>Make yourself visible online:</a:t>
            </a:r>
            <a:endParaRPr lang="en-IE" sz="5400" b="1" dirty="0">
              <a:solidFill>
                <a:srgbClr val="FFFFFF"/>
              </a:solidFill>
              <a:cs typeface="Calibri Light"/>
            </a:endParaRPr>
          </a:p>
        </p:txBody>
      </p:sp>
      <p:sp>
        <p:nvSpPr>
          <p:cNvPr id="3" name="Content Placeholder 2"/>
          <p:cNvSpPr>
            <a:spLocks noGrp="1"/>
          </p:cNvSpPr>
          <p:nvPr>
            <p:ph idx="1"/>
          </p:nvPr>
        </p:nvSpPr>
        <p:spPr>
          <a:xfrm>
            <a:off x="478767" y="2443015"/>
            <a:ext cx="11536392" cy="4194022"/>
          </a:xfrm>
        </p:spPr>
        <p:txBody>
          <a:bodyPr vert="horz" lIns="45720" tIns="45720" rIns="45720" bIns="45720" rtlCol="0" anchor="t">
            <a:noAutofit/>
          </a:bodyPr>
          <a:lstStyle/>
          <a:p>
            <a:pPr>
              <a:spcBef>
                <a:spcPts val="1200"/>
              </a:spcBef>
              <a:spcAft>
                <a:spcPts val="200"/>
              </a:spcAft>
              <a:buFont typeface="Arial"/>
              <a:buChar char="•"/>
            </a:pPr>
            <a:endParaRPr lang="en-GB" sz="2000" dirty="0">
              <a:cs typeface="Calibri" panose="020F0502020204030204"/>
            </a:endParaRPr>
          </a:p>
          <a:p>
            <a:pPr marL="0" indent="0">
              <a:spcBef>
                <a:spcPts val="1200"/>
              </a:spcBef>
              <a:spcAft>
                <a:spcPts val="200"/>
              </a:spcAft>
              <a:buNone/>
            </a:pPr>
            <a:r>
              <a:rPr lang="en-GB" sz="2400" b="1" dirty="0">
                <a:ea typeface="+mn-lt"/>
                <a:cs typeface="+mn-lt"/>
                <a:hlinkClick r:id="rId2"/>
              </a:rPr>
              <a:t>Distribute your profile:</a:t>
            </a:r>
            <a:endParaRPr lang="en-GB" sz="2400" b="1" dirty="0">
              <a:ea typeface="+mn-lt"/>
              <a:cs typeface="+mn-lt"/>
            </a:endParaRPr>
          </a:p>
          <a:p>
            <a:pPr marL="264795" lvl="1" indent="-285750">
              <a:spcBef>
                <a:spcPts val="200"/>
              </a:spcBef>
              <a:spcAft>
                <a:spcPts val="400"/>
              </a:spcAft>
              <a:buFont typeface="Arial"/>
              <a:buChar char="•"/>
            </a:pPr>
            <a:r>
              <a:rPr lang="en-GB" b="1" dirty="0">
                <a:ea typeface="+mn-lt"/>
                <a:cs typeface="+mn-lt"/>
                <a:hlinkClick r:id="rId3"/>
              </a:rPr>
              <a:t>IRIS</a:t>
            </a:r>
            <a:endParaRPr lang="en-US">
              <a:ea typeface="+mn-lt"/>
              <a:cs typeface="+mn-lt"/>
            </a:endParaRPr>
          </a:p>
          <a:p>
            <a:pPr marL="264795" lvl="1" indent="-285750">
              <a:spcBef>
                <a:spcPts val="200"/>
              </a:spcBef>
              <a:spcAft>
                <a:spcPts val="400"/>
              </a:spcAft>
              <a:buFont typeface="Arial"/>
              <a:buChar char="•"/>
            </a:pPr>
            <a:r>
              <a:rPr lang="en-GB" b="1" dirty="0">
                <a:ea typeface="+mn-lt"/>
                <a:cs typeface="+mn-lt"/>
                <a:hlinkClick r:id="rId4"/>
              </a:rPr>
              <a:t>ORCID</a:t>
            </a:r>
            <a:r>
              <a:rPr lang="en-GB" b="1" dirty="0">
                <a:ea typeface="+mn-lt"/>
                <a:cs typeface="+mn-lt"/>
              </a:rPr>
              <a:t> </a:t>
            </a:r>
            <a:r>
              <a:rPr lang="en-GB" dirty="0">
                <a:ea typeface="+mn-lt"/>
                <a:cs typeface="+mn-lt"/>
              </a:rPr>
              <a:t>Self-register and can set up for auto updates.</a:t>
            </a:r>
            <a:endParaRPr lang="en-US" dirty="0">
              <a:ea typeface="+mn-lt"/>
              <a:cs typeface="+mn-lt"/>
            </a:endParaRPr>
          </a:p>
          <a:p>
            <a:pPr marL="264795" lvl="1" indent="-285750">
              <a:spcBef>
                <a:spcPts val="200"/>
              </a:spcBef>
              <a:spcAft>
                <a:spcPts val="400"/>
              </a:spcAft>
              <a:buFont typeface="Arial"/>
              <a:buChar char="•"/>
            </a:pPr>
            <a:r>
              <a:rPr lang="en-GB" b="1" dirty="0">
                <a:ea typeface="+mn-lt"/>
                <a:cs typeface="+mn-lt"/>
                <a:hlinkClick r:id="rId5"/>
              </a:rPr>
              <a:t>Publons</a:t>
            </a:r>
            <a:r>
              <a:rPr lang="en-GB" dirty="0">
                <a:ea typeface="+mn-lt"/>
                <a:cs typeface="+mn-lt"/>
              </a:rPr>
              <a:t> Self-register by claiming Web of Science </a:t>
            </a:r>
            <a:r>
              <a:rPr lang="en-GB" dirty="0" err="1">
                <a:ea typeface="+mn-lt"/>
                <a:cs typeface="+mn-lt"/>
              </a:rPr>
              <a:t>ResearcherID</a:t>
            </a:r>
            <a:endParaRPr lang="en-GB" dirty="0">
              <a:ea typeface="+mn-lt"/>
              <a:cs typeface="+mn-lt"/>
            </a:endParaRPr>
          </a:p>
          <a:p>
            <a:pPr marL="264795" lvl="1" indent="-285750">
              <a:spcBef>
                <a:spcPts val="200"/>
              </a:spcBef>
              <a:spcAft>
                <a:spcPts val="400"/>
              </a:spcAft>
              <a:buFont typeface="Arial"/>
              <a:buChar char="•"/>
            </a:pPr>
            <a:r>
              <a:rPr lang="en-GB" b="1" dirty="0">
                <a:ea typeface="+mn-lt"/>
                <a:cs typeface="+mn-lt"/>
                <a:hlinkClick r:id="rId6"/>
              </a:rPr>
              <a:t>Scopus Author Profile</a:t>
            </a:r>
            <a:r>
              <a:rPr lang="en-GB" dirty="0">
                <a:ea typeface="+mn-lt"/>
                <a:cs typeface="+mn-lt"/>
              </a:rPr>
              <a:t>. Automatically populated but can request corrections</a:t>
            </a:r>
            <a:endParaRPr lang="en-US" dirty="0">
              <a:ea typeface="+mn-lt"/>
              <a:cs typeface="+mn-lt"/>
            </a:endParaRPr>
          </a:p>
          <a:p>
            <a:pPr marL="264795" lvl="1" indent="-285750">
              <a:spcBef>
                <a:spcPts val="200"/>
              </a:spcBef>
              <a:spcAft>
                <a:spcPts val="400"/>
              </a:spcAft>
              <a:buFont typeface="Arial"/>
              <a:buChar char="•"/>
            </a:pPr>
            <a:r>
              <a:rPr lang="en-GB" b="1" dirty="0">
                <a:ea typeface="+mn-lt"/>
                <a:cs typeface="+mn-lt"/>
              </a:rPr>
              <a:t>Google Scholar</a:t>
            </a:r>
            <a:r>
              <a:rPr lang="en-GB" dirty="0">
                <a:ea typeface="+mn-lt"/>
                <a:cs typeface="+mn-lt"/>
              </a:rPr>
              <a:t> Self-register and can set up for auto updates</a:t>
            </a:r>
            <a:endParaRPr lang="en-US">
              <a:ea typeface="+mn-lt"/>
              <a:cs typeface="+mn-lt"/>
            </a:endParaRPr>
          </a:p>
          <a:p>
            <a:pPr marL="264795" lvl="1" indent="-285750">
              <a:spcBef>
                <a:spcPts val="200"/>
              </a:spcBef>
              <a:spcAft>
                <a:spcPts val="400"/>
              </a:spcAft>
              <a:buFont typeface="Arial"/>
              <a:buChar char="•"/>
            </a:pPr>
            <a:r>
              <a:rPr lang="en-GB" b="1" dirty="0">
                <a:ea typeface="+mn-lt"/>
                <a:cs typeface="+mn-lt"/>
              </a:rPr>
              <a:t>Research Gate, Academia.edu, Loop</a:t>
            </a:r>
            <a:endParaRPr lang="en-US" dirty="0">
              <a:ea typeface="+mn-lt"/>
              <a:cs typeface="+mn-lt"/>
            </a:endParaRPr>
          </a:p>
          <a:p>
            <a:pPr marL="264795" lvl="1" indent="-285750">
              <a:spcBef>
                <a:spcPts val="200"/>
              </a:spcBef>
              <a:spcAft>
                <a:spcPts val="400"/>
              </a:spcAft>
              <a:buFont typeface="Arial"/>
              <a:buChar char="•"/>
            </a:pPr>
            <a:r>
              <a:rPr lang="en-GB" dirty="0">
                <a:ea typeface="+mn-lt"/>
                <a:cs typeface="+mn-lt"/>
              </a:rPr>
              <a:t>Promoting</a:t>
            </a:r>
            <a:r>
              <a:rPr lang="en-GB" sz="2400" dirty="0">
                <a:ea typeface="+mn-lt"/>
                <a:cs typeface="+mn-lt"/>
              </a:rPr>
              <a:t> via social media, </a:t>
            </a:r>
            <a:r>
              <a:rPr lang="en-GB" dirty="0">
                <a:ea typeface="+mn-lt"/>
                <a:cs typeface="+mn-lt"/>
                <a:hlinkClick r:id="rId7">
                  <a:extLst>
                    <a:ext uri="{A12FA001-AC4F-418D-AE19-62706E023703}">
                      <ahyp:hlinkClr xmlns:ahyp="http://schemas.microsoft.com/office/drawing/2018/hyperlinkcolor" val="tx"/>
                    </a:ext>
                  </a:extLst>
                </a:hlinkClick>
              </a:rPr>
              <a:t>Twitter</a:t>
            </a:r>
            <a:r>
              <a:rPr lang="en-GB" dirty="0">
                <a:ea typeface="+mn-lt"/>
                <a:cs typeface="+mn-lt"/>
              </a:rPr>
              <a:t>, personal</a:t>
            </a:r>
            <a:r>
              <a:rPr lang="en-GB" sz="2400" dirty="0">
                <a:ea typeface="+mn-lt"/>
                <a:cs typeface="+mn-lt"/>
              </a:rPr>
              <a:t> websites, LinkedIn etc.</a:t>
            </a:r>
            <a:endParaRPr lang="en-US" sz="2400" dirty="0">
              <a:ea typeface="+mn-lt"/>
              <a:cs typeface="+mn-lt"/>
            </a:endParaRPr>
          </a:p>
          <a:p>
            <a:pPr>
              <a:spcBef>
                <a:spcPts val="1200"/>
              </a:spcBef>
              <a:spcAft>
                <a:spcPts val="200"/>
              </a:spcAft>
              <a:buFont typeface="Arial"/>
              <a:buChar char="•"/>
            </a:pPr>
            <a:endParaRPr lang="en-GB" sz="2000" dirty="0">
              <a:cs typeface="Calibri"/>
            </a:endParaRPr>
          </a:p>
        </p:txBody>
      </p:sp>
    </p:spTree>
    <p:extLst>
      <p:ext uri="{BB962C8B-B14F-4D97-AF65-F5344CB8AC3E}">
        <p14:creationId xmlns:p14="http://schemas.microsoft.com/office/powerpoint/2010/main" val="2011022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AA2C1427-56CE-44F9-8129-D1DF3693A747}"/>
              </a:ext>
            </a:extLst>
          </p:cNvPr>
          <p:cNvSpPr/>
          <p:nvPr/>
        </p:nvSpPr>
        <p:spPr>
          <a:xfrm>
            <a:off x="842784" y="875429"/>
            <a:ext cx="6044628" cy="5744965"/>
          </a:xfrm>
          <a:prstGeom prst="ellipse">
            <a:avLst/>
          </a:prstGeom>
          <a:solidFill>
            <a:schemeClr val="accent5">
              <a:lumMod val="20000"/>
              <a:lumOff val="80000"/>
            </a:schemeClr>
          </a:solidFill>
          <a:ln>
            <a:solidFill>
              <a:schemeClr val="tx1"/>
            </a:solidFill>
          </a:ln>
        </p:spPr>
        <p:style>
          <a:lnRef idx="0">
            <a:schemeClr val="accent1"/>
          </a:lnRef>
          <a:fillRef idx="3">
            <a:schemeClr val="accent1"/>
          </a:fillRef>
          <a:effectRef idx="3">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extBox 2">
            <a:extLst>
              <a:ext uri="{FF2B5EF4-FFF2-40B4-BE49-F238E27FC236}">
                <a16:creationId xmlns:a16="http://schemas.microsoft.com/office/drawing/2014/main" id="{A6ABA778-370C-47BD-AE3A-12324974E085}"/>
              </a:ext>
            </a:extLst>
          </p:cNvPr>
          <p:cNvSpPr txBox="1"/>
          <p:nvPr/>
        </p:nvSpPr>
        <p:spPr>
          <a:xfrm>
            <a:off x="7599219" y="117589"/>
            <a:ext cx="4310332" cy="674030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sz="2400" b="1" dirty="0">
                <a:cs typeface="Calibri"/>
              </a:rPr>
              <a:t>“Open science </a:t>
            </a:r>
            <a:r>
              <a:rPr lang="en-IE" sz="2400" dirty="0">
                <a:cs typeface="Calibri"/>
              </a:rPr>
              <a:t>is an approach based on open cooperative work and systematic sharing of knowledge and tools as early and widely as possible in the process.</a:t>
            </a:r>
            <a:endParaRPr lang="en-GB" sz="2400" dirty="0">
              <a:cs typeface="Calibri"/>
            </a:endParaRPr>
          </a:p>
          <a:p>
            <a:endParaRPr lang="en-IE" sz="2400" dirty="0">
              <a:cs typeface="Calibri"/>
            </a:endParaRPr>
          </a:p>
          <a:p>
            <a:r>
              <a:rPr lang="en-IE" sz="2400" dirty="0">
                <a:cs typeface="Calibri"/>
              </a:rPr>
              <a:t>It has the potential to increase the quality and efficiency of research and accelerate the advancement of knowledge and innovation by sharing results, making them more reusable and improving their reproducibility. </a:t>
            </a:r>
            <a:endParaRPr lang="en-GB" sz="2400" dirty="0">
              <a:cs typeface="Calibri"/>
            </a:endParaRPr>
          </a:p>
          <a:p>
            <a:endParaRPr lang="en-IE" sz="2400" dirty="0">
              <a:cs typeface="Calibri"/>
            </a:endParaRPr>
          </a:p>
          <a:p>
            <a:r>
              <a:rPr lang="en-IE" sz="2400" dirty="0">
                <a:cs typeface="Calibri"/>
              </a:rPr>
              <a:t>It entails the involvement of all relevant knowledge actors”</a:t>
            </a:r>
          </a:p>
          <a:p>
            <a:endParaRPr lang="en-IE" sz="2400" dirty="0">
              <a:cs typeface="Calibri"/>
            </a:endParaRPr>
          </a:p>
          <a:p>
            <a:endParaRPr lang="en-IE" sz="2400" dirty="0">
              <a:cs typeface="Calibri"/>
            </a:endParaRPr>
          </a:p>
        </p:txBody>
      </p:sp>
      <p:sp>
        <p:nvSpPr>
          <p:cNvPr id="8" name="TextBox 3">
            <a:extLst>
              <a:ext uri="{FF2B5EF4-FFF2-40B4-BE49-F238E27FC236}">
                <a16:creationId xmlns:a16="http://schemas.microsoft.com/office/drawing/2014/main" id="{7A7DDEED-CA37-4A74-8BED-6F39B0A5E78F}"/>
              </a:ext>
            </a:extLst>
          </p:cNvPr>
          <p:cNvSpPr txBox="1"/>
          <p:nvPr/>
        </p:nvSpPr>
        <p:spPr>
          <a:xfrm>
            <a:off x="387228" y="290654"/>
            <a:ext cx="4453220" cy="58477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3200" b="1">
                <a:solidFill>
                  <a:srgbClr val="008000"/>
                </a:solidFill>
              </a:rPr>
              <a:t>Open Science/Research </a:t>
            </a:r>
          </a:p>
        </p:txBody>
      </p:sp>
      <p:grpSp>
        <p:nvGrpSpPr>
          <p:cNvPr id="9" name="Group 8">
            <a:extLst>
              <a:ext uri="{FF2B5EF4-FFF2-40B4-BE49-F238E27FC236}">
                <a16:creationId xmlns:a16="http://schemas.microsoft.com/office/drawing/2014/main" id="{CE085E78-A429-4B3E-98A3-2AD1BBD7357D}"/>
              </a:ext>
            </a:extLst>
          </p:cNvPr>
          <p:cNvGrpSpPr/>
          <p:nvPr/>
        </p:nvGrpSpPr>
        <p:grpSpPr>
          <a:xfrm>
            <a:off x="1954386" y="1460204"/>
            <a:ext cx="4283397" cy="4885913"/>
            <a:chOff x="3357857" y="1219068"/>
            <a:chExt cx="4283397" cy="4885913"/>
          </a:xfrm>
        </p:grpSpPr>
        <p:sp>
          <p:nvSpPr>
            <p:cNvPr id="11" name="Oval 10">
              <a:extLst>
                <a:ext uri="{FF2B5EF4-FFF2-40B4-BE49-F238E27FC236}">
                  <a16:creationId xmlns:a16="http://schemas.microsoft.com/office/drawing/2014/main" id="{E59485B6-6F44-4A88-8118-75FFA215EA66}"/>
                </a:ext>
              </a:extLst>
            </p:cNvPr>
            <p:cNvSpPr/>
            <p:nvPr/>
          </p:nvSpPr>
          <p:spPr>
            <a:xfrm>
              <a:off x="5729066" y="4130817"/>
              <a:ext cx="1912188" cy="1696527"/>
            </a:xfrm>
            <a:prstGeom prst="ellipse">
              <a:avLst/>
            </a:prstGeom>
          </p:spPr>
          <p:style>
            <a:lnRef idx="0">
              <a:schemeClr val="accent5"/>
            </a:lnRef>
            <a:fillRef idx="3">
              <a:schemeClr val="accent5"/>
            </a:fillRef>
            <a:effectRef idx="3">
              <a:schemeClr val="accent5"/>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b="1">
                  <a:solidFill>
                    <a:schemeClr val="tx1"/>
                  </a:solidFill>
                  <a:cs typeface="Calibri"/>
                </a:rPr>
                <a:t>Citizen Science </a:t>
              </a:r>
              <a:endParaRPr lang="en-GB" b="1">
                <a:solidFill>
                  <a:schemeClr val="tx1"/>
                </a:solidFill>
              </a:endParaRPr>
            </a:p>
          </p:txBody>
        </p:sp>
        <p:sp>
          <p:nvSpPr>
            <p:cNvPr id="12" name="Oval 11">
              <a:extLst>
                <a:ext uri="{FF2B5EF4-FFF2-40B4-BE49-F238E27FC236}">
                  <a16:creationId xmlns:a16="http://schemas.microsoft.com/office/drawing/2014/main" id="{3B19B860-88DD-4816-944F-9386F76D1279}"/>
                </a:ext>
              </a:extLst>
            </p:cNvPr>
            <p:cNvSpPr/>
            <p:nvPr/>
          </p:nvSpPr>
          <p:spPr>
            <a:xfrm>
              <a:off x="5067192" y="1219068"/>
              <a:ext cx="2147340" cy="1664569"/>
            </a:xfrm>
            <a:prstGeom prst="ellipse">
              <a:avLst/>
            </a:prstGeom>
            <a:solidFill>
              <a:schemeClr val="accent5"/>
            </a:solidFill>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b="1">
                  <a:solidFill>
                    <a:schemeClr val="tx1"/>
                  </a:solidFill>
                  <a:cs typeface="Calibri"/>
                </a:rPr>
                <a:t>Open Methodology  </a:t>
              </a:r>
              <a:endParaRPr lang="en-GB" b="1">
                <a:solidFill>
                  <a:schemeClr val="tx1"/>
                </a:solidFill>
              </a:endParaRPr>
            </a:p>
          </p:txBody>
        </p:sp>
        <p:sp>
          <p:nvSpPr>
            <p:cNvPr id="13" name="Oval 12">
              <a:extLst>
                <a:ext uri="{FF2B5EF4-FFF2-40B4-BE49-F238E27FC236}">
                  <a16:creationId xmlns:a16="http://schemas.microsoft.com/office/drawing/2014/main" id="{84275529-9959-4BD2-9A1C-46D669FB451F}"/>
                </a:ext>
              </a:extLst>
            </p:cNvPr>
            <p:cNvSpPr/>
            <p:nvPr/>
          </p:nvSpPr>
          <p:spPr>
            <a:xfrm>
              <a:off x="3959604" y="2813761"/>
              <a:ext cx="2465523" cy="1696527"/>
            </a:xfrm>
            <a:prstGeom prst="ellipse">
              <a:avLst/>
            </a:prstGeom>
            <a:ln w="57150">
              <a:solidFill>
                <a:srgbClr val="00B050"/>
              </a:solidFill>
            </a:ln>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400" b="1">
                  <a:solidFill>
                    <a:schemeClr val="tx1"/>
                  </a:solidFill>
                  <a:cs typeface="Calibri"/>
                </a:rPr>
                <a:t>Open Access Publications</a:t>
              </a:r>
              <a:r>
                <a:rPr lang="en-GB" b="1">
                  <a:solidFill>
                    <a:schemeClr val="tx1"/>
                  </a:solidFill>
                  <a:cs typeface="Calibri"/>
                </a:rPr>
                <a:t> </a:t>
              </a:r>
              <a:endParaRPr lang="en-GB" b="1">
                <a:solidFill>
                  <a:schemeClr val="tx1"/>
                </a:solidFill>
              </a:endParaRPr>
            </a:p>
          </p:txBody>
        </p:sp>
        <p:sp>
          <p:nvSpPr>
            <p:cNvPr id="14" name="Oval 13">
              <a:extLst>
                <a:ext uri="{FF2B5EF4-FFF2-40B4-BE49-F238E27FC236}">
                  <a16:creationId xmlns:a16="http://schemas.microsoft.com/office/drawing/2014/main" id="{9803426D-FFD0-4814-A46A-18E7D1991A82}"/>
                </a:ext>
              </a:extLst>
            </p:cNvPr>
            <p:cNvSpPr/>
            <p:nvPr/>
          </p:nvSpPr>
          <p:spPr>
            <a:xfrm>
              <a:off x="3357857" y="4408454"/>
              <a:ext cx="1912188" cy="1696527"/>
            </a:xfrm>
            <a:prstGeom prst="ellipse">
              <a:avLst/>
            </a:prstGeom>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b="1">
                  <a:solidFill>
                    <a:schemeClr val="tx1"/>
                  </a:solidFill>
                  <a:cs typeface="Calibri"/>
                </a:rPr>
                <a:t>Open Evaluation</a:t>
              </a:r>
              <a:endParaRPr lang="en-GB" b="1">
                <a:solidFill>
                  <a:schemeClr val="tx1"/>
                </a:solidFill>
              </a:endParaRPr>
            </a:p>
          </p:txBody>
        </p:sp>
      </p:grpSp>
      <p:sp>
        <p:nvSpPr>
          <p:cNvPr id="2" name="TextBox 1">
            <a:extLst>
              <a:ext uri="{FF2B5EF4-FFF2-40B4-BE49-F238E27FC236}">
                <a16:creationId xmlns:a16="http://schemas.microsoft.com/office/drawing/2014/main" id="{E1D9B480-4901-4CCC-85AE-E28CBE7B840E}"/>
              </a:ext>
            </a:extLst>
          </p:cNvPr>
          <p:cNvSpPr txBox="1"/>
          <p:nvPr/>
        </p:nvSpPr>
        <p:spPr>
          <a:xfrm>
            <a:off x="7879539" y="6258977"/>
            <a:ext cx="4316016" cy="369332"/>
          </a:xfrm>
          <a:prstGeom prst="rect">
            <a:avLst/>
          </a:prstGeom>
          <a:noFill/>
        </p:spPr>
        <p:txBody>
          <a:bodyPr wrap="square" lIns="91440" tIns="45720" rIns="91440" bIns="45720" rtlCol="0" anchor="t">
            <a:spAutoFit/>
          </a:bodyPr>
          <a:lstStyle/>
          <a:p>
            <a:pPr lvl="1"/>
            <a:r>
              <a:rPr lang="en-IE" b="1"/>
              <a:t>Horizon Europe Programme Guide</a:t>
            </a:r>
            <a:endParaRPr lang="en-IE" b="1">
              <a:cs typeface="Calibri"/>
            </a:endParaRPr>
          </a:p>
        </p:txBody>
      </p:sp>
      <p:sp>
        <p:nvSpPr>
          <p:cNvPr id="3" name="Oval 2">
            <a:extLst>
              <a:ext uri="{FF2B5EF4-FFF2-40B4-BE49-F238E27FC236}">
                <a16:creationId xmlns:a16="http://schemas.microsoft.com/office/drawing/2014/main" id="{E59F59A0-C458-48A9-9E3E-C9D36CFAD8F8}"/>
              </a:ext>
            </a:extLst>
          </p:cNvPr>
          <p:cNvSpPr/>
          <p:nvPr/>
        </p:nvSpPr>
        <p:spPr>
          <a:xfrm>
            <a:off x="1656689" y="1460203"/>
            <a:ext cx="1798887" cy="1664569"/>
          </a:xfrm>
          <a:prstGeom prst="ellipse">
            <a:avLst/>
          </a:prstGeom>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b="1">
                <a:solidFill>
                  <a:schemeClr val="tx1"/>
                </a:solidFill>
                <a:cs typeface="Calibri"/>
              </a:rPr>
              <a:t>Open Data </a:t>
            </a:r>
            <a:endParaRPr lang="en-GB" b="1">
              <a:solidFill>
                <a:schemeClr val="tx1"/>
              </a:solidFill>
            </a:endParaRPr>
          </a:p>
        </p:txBody>
      </p:sp>
    </p:spTree>
    <p:extLst>
      <p:ext uri="{BB962C8B-B14F-4D97-AF65-F5344CB8AC3E}">
        <p14:creationId xmlns:p14="http://schemas.microsoft.com/office/powerpoint/2010/main" val="2013717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9">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B75FBFF-1732-484E-8AD4-98219C99A78C}"/>
              </a:ext>
            </a:extLst>
          </p:cNvPr>
          <p:cNvSpPr>
            <a:spLocks noGrp="1"/>
          </p:cNvSpPr>
          <p:nvPr>
            <p:ph type="title"/>
          </p:nvPr>
        </p:nvSpPr>
        <p:spPr>
          <a:xfrm>
            <a:off x="5297762" y="329184"/>
            <a:ext cx="6251110" cy="1783080"/>
          </a:xfrm>
        </p:spPr>
        <p:txBody>
          <a:bodyPr anchor="b">
            <a:normAutofit/>
          </a:bodyPr>
          <a:lstStyle/>
          <a:p>
            <a:r>
              <a:rPr lang="en-IE" sz="5400" b="1" dirty="0">
                <a:latin typeface="Calibri"/>
                <a:ea typeface="+mn-ea"/>
                <a:cs typeface="+mn-cs"/>
              </a:rPr>
              <a:t>What is open access?</a:t>
            </a:r>
          </a:p>
        </p:txBody>
      </p:sp>
      <p:pic>
        <p:nvPicPr>
          <p:cNvPr id="5" name="Picture 4">
            <a:extLst>
              <a:ext uri="{FF2B5EF4-FFF2-40B4-BE49-F238E27FC236}">
                <a16:creationId xmlns:a16="http://schemas.microsoft.com/office/drawing/2014/main" id="{0082FB4B-C0E8-4906-B788-B4893B55E75D}"/>
              </a:ext>
            </a:extLst>
          </p:cNvPr>
          <p:cNvPicPr>
            <a:picLocks noChangeAspect="1"/>
          </p:cNvPicPr>
          <p:nvPr/>
        </p:nvPicPr>
        <p:blipFill rotWithShape="1">
          <a:blip r:embed="rId3"/>
          <a:srcRect l="26375" r="22692"/>
          <a:stretch/>
        </p:blipFill>
        <p:spPr>
          <a:xfrm>
            <a:off x="1" y="10768"/>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8"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ECC832A-11FB-42ED-BD77-76D0CAD26346}"/>
              </a:ext>
            </a:extLst>
          </p:cNvPr>
          <p:cNvSpPr>
            <a:spLocks noGrp="1"/>
          </p:cNvSpPr>
          <p:nvPr>
            <p:ph idx="1"/>
          </p:nvPr>
        </p:nvSpPr>
        <p:spPr>
          <a:xfrm>
            <a:off x="5297762" y="2706624"/>
            <a:ext cx="6251110" cy="3483864"/>
          </a:xfrm>
        </p:spPr>
        <p:txBody>
          <a:bodyPr vert="horz" lIns="91440" tIns="45720" rIns="91440" bIns="45720" rtlCol="0" anchor="t">
            <a:normAutofit/>
          </a:bodyPr>
          <a:lstStyle/>
          <a:p>
            <a:r>
              <a:rPr lang="en-IE" sz="2200" dirty="0"/>
              <a:t>Open access is a set of principles and practices through which research outputs are distributed online, free of cost or other access barriers. </a:t>
            </a:r>
          </a:p>
          <a:p>
            <a:r>
              <a:rPr lang="en-IE" sz="2200" dirty="0"/>
              <a:t>Through licensing via an open license (usually a Creative Commons license), freely available outputs can also be legally shared and reused. </a:t>
            </a:r>
            <a:endParaRPr lang="en-IE" sz="2200" dirty="0">
              <a:cs typeface="Calibri"/>
            </a:endParaRPr>
          </a:p>
          <a:p>
            <a:r>
              <a:rPr lang="en-IE" sz="2200" b="1" dirty="0"/>
              <a:t>Therefore, open access is more than just free access</a:t>
            </a:r>
            <a:r>
              <a:rPr lang="en-IE" sz="2200" dirty="0"/>
              <a:t>.</a:t>
            </a:r>
            <a:endParaRPr lang="en-IE" sz="2200" dirty="0">
              <a:cs typeface="Calibri"/>
            </a:endParaRPr>
          </a:p>
        </p:txBody>
      </p:sp>
    </p:spTree>
    <p:extLst>
      <p:ext uri="{BB962C8B-B14F-4D97-AF65-F5344CB8AC3E}">
        <p14:creationId xmlns:p14="http://schemas.microsoft.com/office/powerpoint/2010/main" val="1630383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988F2A1-2EE2-4F8A-9D3B-E2BDB10B49FE}"/>
              </a:ext>
            </a:extLst>
          </p:cNvPr>
          <p:cNvSpPr/>
          <p:nvPr/>
        </p:nvSpPr>
        <p:spPr>
          <a:xfrm>
            <a:off x="474778" y="6267069"/>
            <a:ext cx="11045880" cy="590931"/>
          </a:xfrm>
          <a:prstGeom prst="rect">
            <a:avLst/>
          </a:prstGeom>
        </p:spPr>
        <p:txBody>
          <a:bodyPr wrap="square">
            <a:spAutoFit/>
          </a:bodyPr>
          <a:lstStyle/>
          <a:p>
            <a:pPr>
              <a:lnSpc>
                <a:spcPct val="90000"/>
              </a:lnSpc>
            </a:pPr>
            <a:r>
              <a:rPr lang="en-GB" i="1"/>
              <a:t>Note: Open Access is increasingly the norm nationally and internationally. Also, for funded research, Open Access may be a requirement of the funding agency</a:t>
            </a:r>
          </a:p>
        </p:txBody>
      </p:sp>
      <p:pic>
        <p:nvPicPr>
          <p:cNvPr id="1026" name="Picture 2">
            <a:extLst>
              <a:ext uri="{FF2B5EF4-FFF2-40B4-BE49-F238E27FC236}">
                <a16:creationId xmlns:a16="http://schemas.microsoft.com/office/drawing/2014/main" id="{8A526FF1-DE09-437F-937E-E74DA90F3042}"/>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08216" y="1891704"/>
            <a:ext cx="1188037" cy="120026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9AC449-D726-43D0-A450-F773B4DE8391}"/>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8976996" y="437694"/>
            <a:ext cx="2003090" cy="123778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EF9662A1-8098-4B1A-A388-92B63C22B1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4736" y="4443945"/>
            <a:ext cx="4705350" cy="9810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90EA137D-5C6E-4100-B01C-A238FC3BF8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01486" y="3165454"/>
            <a:ext cx="1639994" cy="114616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4AF7F3EA-B110-44C8-8A67-890605091C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40212" y="2554068"/>
            <a:ext cx="1428750" cy="5048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9A05996-1682-43A4-92F5-E9A8CE5CA0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0243" y="270201"/>
            <a:ext cx="1876425" cy="12668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diagram&#10;&#10;Description automatically generated">
            <a:extLst>
              <a:ext uri="{FF2B5EF4-FFF2-40B4-BE49-F238E27FC236}">
                <a16:creationId xmlns:a16="http://schemas.microsoft.com/office/drawing/2014/main" id="{9478FCB9-F21D-B04C-733E-F4BE668C35F7}"/>
              </a:ext>
            </a:extLst>
          </p:cNvPr>
          <p:cNvPicPr>
            <a:picLocks noChangeAspect="1"/>
          </p:cNvPicPr>
          <p:nvPr/>
        </p:nvPicPr>
        <p:blipFill>
          <a:blip r:embed="rId9"/>
          <a:stretch>
            <a:fillRect/>
          </a:stretch>
        </p:blipFill>
        <p:spPr>
          <a:xfrm>
            <a:off x="3175385" y="1816215"/>
            <a:ext cx="2975367" cy="4279921"/>
          </a:xfrm>
          <a:prstGeom prst="rect">
            <a:avLst/>
          </a:prstGeom>
        </p:spPr>
      </p:pic>
      <p:sp>
        <p:nvSpPr>
          <p:cNvPr id="4" name="TextBox 3">
            <a:extLst>
              <a:ext uri="{FF2B5EF4-FFF2-40B4-BE49-F238E27FC236}">
                <a16:creationId xmlns:a16="http://schemas.microsoft.com/office/drawing/2014/main" id="{7EA574E2-4A45-0FA8-DB12-16C4EBE956FE}"/>
              </a:ext>
            </a:extLst>
          </p:cNvPr>
          <p:cNvSpPr txBox="1"/>
          <p:nvPr/>
        </p:nvSpPr>
        <p:spPr>
          <a:xfrm>
            <a:off x="146688" y="27006"/>
            <a:ext cx="297347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E" sz="3600" b="1" dirty="0">
                <a:solidFill>
                  <a:srgbClr val="008000"/>
                </a:solidFill>
                <a:cs typeface="Calibri"/>
              </a:rPr>
              <a:t>Policy shift</a:t>
            </a:r>
            <a:endParaRPr lang="en-US" sz="3600" dirty="0">
              <a:ea typeface="+mn-lt"/>
              <a:cs typeface="+mn-lt"/>
            </a:endParaRPr>
          </a:p>
          <a:p>
            <a:pPr algn="l"/>
            <a:endParaRPr lang="en-US" dirty="0">
              <a:cs typeface="Calibri"/>
            </a:endParaRPr>
          </a:p>
        </p:txBody>
      </p:sp>
      <p:pic>
        <p:nvPicPr>
          <p:cNvPr id="2" name="Picture 1">
            <a:extLst>
              <a:ext uri="{FF2B5EF4-FFF2-40B4-BE49-F238E27FC236}">
                <a16:creationId xmlns:a16="http://schemas.microsoft.com/office/drawing/2014/main" id="{57E95298-98FB-8540-207C-BD49993160BD}"/>
              </a:ext>
            </a:extLst>
          </p:cNvPr>
          <p:cNvPicPr>
            <a:picLocks noChangeAspect="1"/>
          </p:cNvPicPr>
          <p:nvPr/>
        </p:nvPicPr>
        <p:blipFill>
          <a:blip r:embed="rId10"/>
          <a:stretch>
            <a:fillRect/>
          </a:stretch>
        </p:blipFill>
        <p:spPr>
          <a:xfrm>
            <a:off x="3342759" y="0"/>
            <a:ext cx="2834886" cy="1597290"/>
          </a:xfrm>
          <a:prstGeom prst="rect">
            <a:avLst/>
          </a:prstGeom>
        </p:spPr>
      </p:pic>
      <p:pic>
        <p:nvPicPr>
          <p:cNvPr id="5" name="Picture 5" descr="Diagram&#10;&#10;Description automatically generated">
            <a:extLst>
              <a:ext uri="{FF2B5EF4-FFF2-40B4-BE49-F238E27FC236}">
                <a16:creationId xmlns:a16="http://schemas.microsoft.com/office/drawing/2014/main" id="{CCEB3D11-F212-1B36-A458-3FE0D6AC3F20}"/>
              </a:ext>
            </a:extLst>
          </p:cNvPr>
          <p:cNvPicPr>
            <a:picLocks noChangeAspect="1"/>
          </p:cNvPicPr>
          <p:nvPr/>
        </p:nvPicPr>
        <p:blipFill>
          <a:blip r:embed="rId11"/>
          <a:stretch>
            <a:fillRect/>
          </a:stretch>
        </p:blipFill>
        <p:spPr>
          <a:xfrm>
            <a:off x="259862" y="858370"/>
            <a:ext cx="2743200" cy="4349952"/>
          </a:xfrm>
          <a:prstGeom prst="rect">
            <a:avLst/>
          </a:prstGeom>
        </p:spPr>
      </p:pic>
    </p:spTree>
    <p:extLst>
      <p:ext uri="{BB962C8B-B14F-4D97-AF65-F5344CB8AC3E}">
        <p14:creationId xmlns:p14="http://schemas.microsoft.com/office/powerpoint/2010/main" val="3921469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9" name="TextBox 8">
            <a:extLst>
              <a:ext uri="{FF2B5EF4-FFF2-40B4-BE49-F238E27FC236}">
                <a16:creationId xmlns:a16="http://schemas.microsoft.com/office/drawing/2014/main" id="{837CAF16-82F5-4762-AC48-A99AF7A9B1BF}"/>
              </a:ext>
            </a:extLst>
          </p:cNvPr>
          <p:cNvSpPr txBox="1"/>
          <p:nvPr/>
        </p:nvSpPr>
        <p:spPr>
          <a:xfrm>
            <a:off x="1311382" y="107920"/>
            <a:ext cx="5248809" cy="646331"/>
          </a:xfrm>
          <a:prstGeom prst="rect">
            <a:avLst/>
          </a:prstGeom>
          <a:noFill/>
        </p:spPr>
        <p:txBody>
          <a:bodyPr wrap="square" rtlCol="0">
            <a:spAutoFit/>
          </a:bodyPr>
          <a:lstStyle/>
          <a:p>
            <a:r>
              <a:rPr lang="en-IE" sz="3600" b="1">
                <a:solidFill>
                  <a:srgbClr val="0070C0"/>
                </a:solidFill>
              </a:rPr>
              <a:t>Plan S: What’s different?</a:t>
            </a:r>
          </a:p>
        </p:txBody>
      </p:sp>
      <p:sp>
        <p:nvSpPr>
          <p:cNvPr id="4" name="TextBox 3">
            <a:extLst>
              <a:ext uri="{FF2B5EF4-FFF2-40B4-BE49-F238E27FC236}">
                <a16:creationId xmlns:a16="http://schemas.microsoft.com/office/drawing/2014/main" id="{F120E27D-4D8B-4E15-B068-76212CAC0ED5}"/>
              </a:ext>
            </a:extLst>
          </p:cNvPr>
          <p:cNvSpPr txBox="1"/>
          <p:nvPr/>
        </p:nvSpPr>
        <p:spPr>
          <a:xfrm>
            <a:off x="920724" y="1024538"/>
            <a:ext cx="8941738" cy="156966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IE" sz="2000" dirty="0"/>
              <a:t>Immediate access/Zero embargo</a:t>
            </a:r>
          </a:p>
          <a:p>
            <a:pPr marL="285750" indent="-285750">
              <a:buFont typeface="Arial" panose="020B0604020202020204" pitchFamily="34" charset="0"/>
              <a:buChar char="•"/>
            </a:pPr>
            <a:r>
              <a:rPr lang="en-IE" sz="2000" dirty="0">
                <a:highlight>
                  <a:srgbClr val="FFFF00"/>
                </a:highlight>
              </a:rPr>
              <a:t>Rights Retention by author/institution required &amp; content licensed under CC-BY </a:t>
            </a:r>
            <a:endParaRPr lang="en-IE" sz="2000" dirty="0">
              <a:highlight>
                <a:srgbClr val="FFFF00"/>
              </a:highlight>
              <a:cs typeface="Calibri"/>
            </a:endParaRPr>
          </a:p>
          <a:p>
            <a:pPr marL="285750" indent="-285750">
              <a:buFont typeface="Arial" panose="020B0604020202020204" pitchFamily="34" charset="0"/>
              <a:buChar char="•"/>
            </a:pPr>
            <a:r>
              <a:rPr lang="en-IE" sz="2000" dirty="0"/>
              <a:t>‘Hybrid OA’ not eligible for funding (except through TA/TJ</a:t>
            </a:r>
            <a:r>
              <a:rPr lang="en-IE" dirty="0"/>
              <a:t>)</a:t>
            </a:r>
          </a:p>
          <a:p>
            <a:endParaRPr lang="en-IE" dirty="0"/>
          </a:p>
          <a:p>
            <a:pPr marL="285750" indent="-285750">
              <a:buFont typeface="Arial" panose="020B0604020202020204" pitchFamily="34" charset="0"/>
              <a:buChar char="•"/>
            </a:pPr>
            <a:endParaRPr lang="en-IE" dirty="0"/>
          </a:p>
        </p:txBody>
      </p:sp>
      <p:grpSp>
        <p:nvGrpSpPr>
          <p:cNvPr id="14" name="Group 13">
            <a:extLst>
              <a:ext uri="{FF2B5EF4-FFF2-40B4-BE49-F238E27FC236}">
                <a16:creationId xmlns:a16="http://schemas.microsoft.com/office/drawing/2014/main" id="{2644AC8E-C7C7-4CD7-A631-4C8A08563B9E}"/>
              </a:ext>
            </a:extLst>
          </p:cNvPr>
          <p:cNvGrpSpPr/>
          <p:nvPr/>
        </p:nvGrpSpPr>
        <p:grpSpPr>
          <a:xfrm>
            <a:off x="3215681" y="2148288"/>
            <a:ext cx="6372011" cy="3537104"/>
            <a:chOff x="1162508" y="2744924"/>
            <a:chExt cx="6588035" cy="3708412"/>
          </a:xfrm>
        </p:grpSpPr>
        <p:sp>
          <p:nvSpPr>
            <p:cNvPr id="6" name="Rectangle: Rounded Corners 5">
              <a:extLst>
                <a:ext uri="{FF2B5EF4-FFF2-40B4-BE49-F238E27FC236}">
                  <a16:creationId xmlns:a16="http://schemas.microsoft.com/office/drawing/2014/main" id="{3240E087-13FF-40A5-89DE-6F27BFC4CEE6}"/>
                </a:ext>
              </a:extLst>
            </p:cNvPr>
            <p:cNvSpPr/>
            <p:nvPr/>
          </p:nvSpPr>
          <p:spPr>
            <a:xfrm>
              <a:off x="3412188" y="2744924"/>
              <a:ext cx="2016224" cy="8640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Full OA Journal/Platform</a:t>
              </a:r>
            </a:p>
          </p:txBody>
        </p:sp>
        <p:sp>
          <p:nvSpPr>
            <p:cNvPr id="5" name="Callout: Quad Arrow 4">
              <a:extLst>
                <a:ext uri="{FF2B5EF4-FFF2-40B4-BE49-F238E27FC236}">
                  <a16:creationId xmlns:a16="http://schemas.microsoft.com/office/drawing/2014/main" id="{586B3CC8-1C98-4AA1-8869-002CA3347876}"/>
                </a:ext>
              </a:extLst>
            </p:cNvPr>
            <p:cNvSpPr/>
            <p:nvPr/>
          </p:nvSpPr>
          <p:spPr>
            <a:xfrm>
              <a:off x="3419872" y="3789040"/>
              <a:ext cx="1800200" cy="1584176"/>
            </a:xfrm>
            <a:prstGeom prst="quadArrowCallout">
              <a:avLst>
                <a:gd name="adj1" fmla="val 18515"/>
                <a:gd name="adj2" fmla="val 18515"/>
                <a:gd name="adj3" fmla="val 18515"/>
                <a:gd name="adj4" fmla="val 296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 name="Rectangle 6">
              <a:extLst>
                <a:ext uri="{FF2B5EF4-FFF2-40B4-BE49-F238E27FC236}">
                  <a16:creationId xmlns:a16="http://schemas.microsoft.com/office/drawing/2014/main" id="{B6339DFF-1109-4D18-97ED-2B1DAE350F69}"/>
                </a:ext>
              </a:extLst>
            </p:cNvPr>
            <p:cNvSpPr/>
            <p:nvPr/>
          </p:nvSpPr>
          <p:spPr>
            <a:xfrm>
              <a:off x="3131840" y="4149080"/>
              <a:ext cx="648072" cy="10081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60916585-D42C-4371-B68C-F9360CD6E081}"/>
                </a:ext>
              </a:extLst>
            </p:cNvPr>
            <p:cNvSpPr/>
            <p:nvPr/>
          </p:nvSpPr>
          <p:spPr>
            <a:xfrm>
              <a:off x="2483768" y="4437112"/>
              <a:ext cx="1476164" cy="28803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Rectangle: Rounded Corners 11">
              <a:extLst>
                <a:ext uri="{FF2B5EF4-FFF2-40B4-BE49-F238E27FC236}">
                  <a16:creationId xmlns:a16="http://schemas.microsoft.com/office/drawing/2014/main" id="{93215C52-D82F-4A75-A659-335C2629B42E}"/>
                </a:ext>
              </a:extLst>
            </p:cNvPr>
            <p:cNvSpPr/>
            <p:nvPr/>
          </p:nvSpPr>
          <p:spPr>
            <a:xfrm>
              <a:off x="3455876" y="5589240"/>
              <a:ext cx="2016224" cy="8640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Repository with zero embargo</a:t>
              </a:r>
            </a:p>
            <a:p>
              <a:pPr algn="ctr"/>
              <a:r>
                <a:rPr lang="en-IE"/>
                <a:t>(Rights Retention)</a:t>
              </a:r>
            </a:p>
          </p:txBody>
        </p:sp>
        <p:sp>
          <p:nvSpPr>
            <p:cNvPr id="13" name="Rectangle: Rounded Corners 12">
              <a:extLst>
                <a:ext uri="{FF2B5EF4-FFF2-40B4-BE49-F238E27FC236}">
                  <a16:creationId xmlns:a16="http://schemas.microsoft.com/office/drawing/2014/main" id="{E5F4FD1A-C1CC-4C48-81C7-1675B94142D3}"/>
                </a:ext>
              </a:extLst>
            </p:cNvPr>
            <p:cNvSpPr/>
            <p:nvPr/>
          </p:nvSpPr>
          <p:spPr>
            <a:xfrm>
              <a:off x="5480831" y="4030835"/>
              <a:ext cx="2269712" cy="10284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Transformative Agreement/Journal (until 2024)</a:t>
              </a:r>
            </a:p>
          </p:txBody>
        </p:sp>
        <p:pic>
          <p:nvPicPr>
            <p:cNvPr id="2052" name="Picture 4">
              <a:extLst>
                <a:ext uri="{FF2B5EF4-FFF2-40B4-BE49-F238E27FC236}">
                  <a16:creationId xmlns:a16="http://schemas.microsoft.com/office/drawing/2014/main" id="{B4F23CCD-E397-4F12-8546-667B3C3D9C0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2508" y="3789040"/>
              <a:ext cx="1270230" cy="1270230"/>
            </a:xfrm>
            <a:prstGeom prst="rect">
              <a:avLst/>
            </a:prstGeom>
            <a:noFill/>
            <a:extLst>
              <a:ext uri="{909E8E84-426E-40DD-AFC4-6F175D3DCCD1}">
                <a14:hiddenFill xmlns:a14="http://schemas.microsoft.com/office/drawing/2010/main">
                  <a:solidFill>
                    <a:srgbClr val="FFFFFF"/>
                  </a:solidFill>
                </a14:hiddenFill>
              </a:ext>
            </a:extLst>
          </p:spPr>
        </p:pic>
      </p:grpSp>
      <p:pic>
        <p:nvPicPr>
          <p:cNvPr id="15" name="Google Shape;55;p13">
            <a:extLst>
              <a:ext uri="{FF2B5EF4-FFF2-40B4-BE49-F238E27FC236}">
                <a16:creationId xmlns:a16="http://schemas.microsoft.com/office/drawing/2014/main" id="{99E72EC8-A7E3-42B3-866A-6E935F2D9ACA}"/>
              </a:ext>
            </a:extLst>
          </p:cNvPr>
          <p:cNvPicPr preferRelativeResize="0"/>
          <p:nvPr/>
        </p:nvPicPr>
        <p:blipFill>
          <a:blip r:embed="rId4">
            <a:alphaModFix/>
          </a:blip>
          <a:stretch>
            <a:fillRect/>
          </a:stretch>
        </p:blipFill>
        <p:spPr>
          <a:xfrm>
            <a:off x="5838333" y="5883216"/>
            <a:ext cx="1503370" cy="864096"/>
          </a:xfrm>
          <a:prstGeom prst="rect">
            <a:avLst/>
          </a:prstGeom>
          <a:noFill/>
          <a:ln>
            <a:noFill/>
          </a:ln>
        </p:spPr>
      </p:pic>
      <p:pic>
        <p:nvPicPr>
          <p:cNvPr id="1026" name="Picture 2" descr="What's up with Horizon Europe? - EuChemS Newsletters">
            <a:extLst>
              <a:ext uri="{FF2B5EF4-FFF2-40B4-BE49-F238E27FC236}">
                <a16:creationId xmlns:a16="http://schemas.microsoft.com/office/drawing/2014/main" id="{ECA37316-B0C4-489F-B5F0-90D70F73A7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2640" y="5591050"/>
            <a:ext cx="1852801" cy="115903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ellcome Trust - Wikipedia">
            <a:extLst>
              <a:ext uri="{FF2B5EF4-FFF2-40B4-BE49-F238E27FC236}">
                <a16:creationId xmlns:a16="http://schemas.microsoft.com/office/drawing/2014/main" id="{3EAF151C-3E13-42F9-9216-3CFA996FDF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27975" y="5591050"/>
            <a:ext cx="1159030" cy="115903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759FA02-0D43-4EBE-943B-0404EC68375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9906" y="107921"/>
            <a:ext cx="3328082" cy="812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3881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ia_jV7j_UiLelEc3aPG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ZgbAt4zmESLdWK8p3Jw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rZecDxD4EmaTYYA9el2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iWnSv6lwUyHX82g.meM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wGJ6jUI6ki0kxvxGavM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dvP_LA4wEa42mylwjwO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_VnI1UmZ0q0prpeTJvR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mbgBeghsEKZeoZ3GJw6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WDeUXctIUG34VgEu5Jh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wGJ6jUI6ki0kxvxGavM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zzvC_1njEKPkoXDg4BC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dvP_LA4wEa42mylwjwO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_VnI1UmZ0q0prpeTJvR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SnqCNyWnkSp3bj9WxuZ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WDeUXctIUG34VgEu5Jh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UjofqEKF0Cot6wJpOg70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rZecDxD4EmaTYYA9el2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iWnSv6lwUyHX82g.meM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aa2dT8FfUmAJT2weO2e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DM0Kq1270WvEWs9JTOn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kdDCEEkxkWEOg12my7H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IUO3mf6wUC8w9Xv1FLJ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vHQf.wVF0SrZ2Wg5iGw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dV.f_6phkeVsGSlxieS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aa2dT8FfUmAJT2weO2e9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kdDCEEkxkWEOg12my7H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IUO3mf6wUC8w9Xv1FLJ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vHQf.wVF0SrZ2Wg5iGw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TrGiynOik2bNkGpMIRB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FcqHRvTTky4QCPidrc7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CC778B6D23A44BB54EA1AF2B09349C" ma:contentTypeVersion="15" ma:contentTypeDescription="Create a new document." ma:contentTypeScope="" ma:versionID="281e6fc1dec6e879dfcd50bfe4ad45e9">
  <xsd:schema xmlns:xsd="http://www.w3.org/2001/XMLSchema" xmlns:xs="http://www.w3.org/2001/XMLSchema" xmlns:p="http://schemas.microsoft.com/office/2006/metadata/properties" xmlns:ns2="598da4d9-c525-4dd7-8ae0-a4dc72c2edee" xmlns:ns3="13fc3b56-5b65-4748-94da-4cb4343271cb" targetNamespace="http://schemas.microsoft.com/office/2006/metadata/properties" ma:root="true" ma:fieldsID="625e5d9bced90a3fbcb2d2e56c3435df" ns2:_="" ns3:_="">
    <xsd:import namespace="598da4d9-c525-4dd7-8ae0-a4dc72c2edee"/>
    <xsd:import namespace="13fc3b56-5b65-4748-94da-4cb4343271c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8da4d9-c525-4dd7-8ae0-a4dc72c2ed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859a5f0-c05d-42c8-96da-fe1ec9be4ef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3fc3b56-5b65-4748-94da-4cb4343271c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b417e85-2d5f-4bc6-8cec-9df98854aea4}" ma:internalName="TaxCatchAll" ma:showField="CatchAllData" ma:web="13fc3b56-5b65-4748-94da-4cb4343271c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98da4d9-c525-4dd7-8ae0-a4dc72c2edee">
      <Terms xmlns="http://schemas.microsoft.com/office/infopath/2007/PartnerControls"/>
    </lcf76f155ced4ddcb4097134ff3c332f>
    <TaxCatchAll xmlns="13fc3b56-5b65-4748-94da-4cb4343271cb" xsi:nil="true"/>
  </documentManagement>
</p:properties>
</file>

<file path=customXml/itemProps1.xml><?xml version="1.0" encoding="utf-8"?>
<ds:datastoreItem xmlns:ds="http://schemas.openxmlformats.org/officeDocument/2006/customXml" ds:itemID="{F88BE310-8E22-415F-9BDF-58D7C33124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8da4d9-c525-4dd7-8ae0-a4dc72c2edee"/>
    <ds:schemaRef ds:uri="13fc3b56-5b65-4748-94da-4cb4343271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D209C5-988B-4383-85EF-982D87F46E4E}">
  <ds:schemaRefs>
    <ds:schemaRef ds:uri="http://schemas.microsoft.com/sharepoint/v3/contenttype/forms"/>
  </ds:schemaRefs>
</ds:datastoreItem>
</file>

<file path=customXml/itemProps3.xml><?xml version="1.0" encoding="utf-8"?>
<ds:datastoreItem xmlns:ds="http://schemas.openxmlformats.org/officeDocument/2006/customXml" ds:itemID="{AC134AE1-9F16-4DA3-8653-2599E4268821}">
  <ds:schemaRefs>
    <ds:schemaRef ds:uri="http://www.w3.org/XML/1998/namespace"/>
    <ds:schemaRef ds:uri="http://purl.org/dc/dcmitype/"/>
    <ds:schemaRef ds:uri="http://purl.org/dc/terms/"/>
    <ds:schemaRef ds:uri="598da4d9-c525-4dd7-8ae0-a4dc72c2ede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13fc3b56-5b65-4748-94da-4cb4343271cb"/>
  </ds:schemaRefs>
</ds:datastoreItem>
</file>

<file path=docProps/app.xml><?xml version="1.0" encoding="utf-8"?>
<Properties xmlns="http://schemas.openxmlformats.org/officeDocument/2006/extended-properties" xmlns:vt="http://schemas.openxmlformats.org/officeDocument/2006/docPropsVTypes">
  <TotalTime>905</TotalTime>
  <Words>4024</Words>
  <Application>Microsoft Office PowerPoint</Application>
  <PresentationFormat>Widescreen</PresentationFormat>
  <Paragraphs>385</Paragraphs>
  <Slides>39</Slides>
  <Notes>27</Notes>
  <HiddenSlides>0</HiddenSlides>
  <MMClips>0</MMClips>
  <ScaleCrop>false</ScaleCrop>
  <HeadingPairs>
    <vt:vector size="4" baseType="variant">
      <vt:variant>
        <vt:lpstr>Theme</vt:lpstr>
      </vt:variant>
      <vt:variant>
        <vt:i4>5</vt:i4>
      </vt:variant>
      <vt:variant>
        <vt:lpstr>Slide Titles</vt:lpstr>
      </vt:variant>
      <vt:variant>
        <vt:i4>39</vt:i4>
      </vt:variant>
    </vt:vector>
  </HeadingPairs>
  <TitlesOfParts>
    <vt:vector size="44" baseType="lpstr">
      <vt:lpstr>Office Theme</vt:lpstr>
      <vt:lpstr>Office Theme</vt:lpstr>
      <vt:lpstr>office theme</vt:lpstr>
      <vt:lpstr>Office Theme</vt:lpstr>
      <vt:lpstr>Integral</vt:lpstr>
      <vt:lpstr>OPEN RESEARCH  UCC HR Researcher Training</vt:lpstr>
      <vt:lpstr>Research lifecycle – What’s in a name?</vt:lpstr>
      <vt:lpstr> Research lifecycle </vt:lpstr>
      <vt:lpstr>  Research lifecycle - Publishers using ORCID  </vt:lpstr>
      <vt:lpstr>Promote your articles  - Make yourself visible online:</vt:lpstr>
      <vt:lpstr>PowerPoint Presentation</vt:lpstr>
      <vt:lpstr>What is open access?</vt:lpstr>
      <vt:lpstr>PowerPoint Presentation</vt:lpstr>
      <vt:lpstr>PowerPoint Presentation</vt:lpstr>
      <vt:lpstr>Funder's open access policies </vt:lpstr>
      <vt:lpstr>Funder's open access policies </vt:lpstr>
      <vt:lpstr>Funder's open access policies</vt:lpstr>
      <vt:lpstr>Publish your research </vt:lpstr>
      <vt:lpstr>Selecting a Journal</vt:lpstr>
      <vt:lpstr>Analyse search results for your topic in the databases  Eg.  Scopus</vt:lpstr>
      <vt:lpstr>PowerPoint Presentation</vt:lpstr>
      <vt:lpstr>Preparing your article. . things to consider:</vt:lpstr>
      <vt:lpstr>Questionable Publishers &amp; Journals</vt:lpstr>
      <vt:lpstr>So, when you have your paper ready to publish – you have choices . . and obligations</vt:lpstr>
      <vt:lpstr>PowerPoint Presentation</vt:lpstr>
      <vt:lpstr>Routes to open access for UCC researchers:</vt:lpstr>
      <vt:lpstr>Green open access:  Repository Based Open Access</vt:lpstr>
      <vt:lpstr>PowerPoint Presentation</vt:lpstr>
      <vt:lpstr>What about ‘Embargoes’?</vt:lpstr>
      <vt:lpstr>PowerPoint Presentation</vt:lpstr>
      <vt:lpstr>PowerPoint Presentation</vt:lpstr>
      <vt:lpstr>PowerPoint Presentation</vt:lpstr>
      <vt:lpstr>How to Add Materials to CORA</vt:lpstr>
      <vt:lpstr>Funder Publishing Platforms</vt:lpstr>
      <vt:lpstr>Publish your research - licence options:</vt:lpstr>
      <vt:lpstr>Gold Open Access</vt:lpstr>
      <vt:lpstr>PowerPoint Presentation</vt:lpstr>
      <vt:lpstr>2023 IReL Transformative agreements with publishers:</vt:lpstr>
      <vt:lpstr>PowerPoint Presentation</vt:lpstr>
      <vt:lpstr>For UCC authors </vt:lpstr>
      <vt:lpstr>PowerPoint Presentation</vt:lpstr>
      <vt:lpstr>PowerPoint Presentation</vt:lpstr>
      <vt:lpstr> To publish your research contact: </vt:lpstr>
      <vt:lpstr>Questions?</vt:lpstr>
    </vt:vector>
  </TitlesOfParts>
  <Company>University College Co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Access Publishing</dc:title>
  <dc:creator>O'Doibhlin, Donna</dc:creator>
  <cp:lastModifiedBy>Donna O'Doibhlin</cp:lastModifiedBy>
  <cp:revision>457</cp:revision>
  <cp:lastPrinted>2022-11-15T10:03:07Z</cp:lastPrinted>
  <dcterms:created xsi:type="dcterms:W3CDTF">2022-09-27T15:14:45Z</dcterms:created>
  <dcterms:modified xsi:type="dcterms:W3CDTF">2023-04-21T09:5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CC778B6D23A44BB54EA1AF2B09349C</vt:lpwstr>
  </property>
  <property fmtid="{D5CDD505-2E9C-101B-9397-08002B2CF9AE}" pid="3" name="MediaServiceImageTags">
    <vt:lpwstr/>
  </property>
</Properties>
</file>